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1.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3.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4.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6.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4241" r:id="rId4"/>
    <p:sldMasterId id="2147484162" r:id="rId5"/>
    <p:sldMasterId id="2147484256" r:id="rId6"/>
    <p:sldMasterId id="2147484265" r:id="rId7"/>
    <p:sldMasterId id="2147484273" r:id="rId8"/>
    <p:sldMasterId id="2147484281" r:id="rId9"/>
    <p:sldMasterId id="2147484289" r:id="rId10"/>
    <p:sldMasterId id="2147484297" r:id="rId11"/>
    <p:sldMasterId id="2147484313" r:id="rId12"/>
    <p:sldMasterId id="2147484321" r:id="rId13"/>
    <p:sldMasterId id="2147484367" r:id="rId14"/>
    <p:sldMasterId id="2147484376" r:id="rId15"/>
    <p:sldMasterId id="2147484381" r:id="rId16"/>
    <p:sldMasterId id="2147484408" r:id="rId17"/>
    <p:sldMasterId id="2147484424" r:id="rId18"/>
    <p:sldMasterId id="2147484451" r:id="rId19"/>
    <p:sldMasterId id="2147484467" r:id="rId20"/>
  </p:sldMasterIdLst>
  <p:notesMasterIdLst>
    <p:notesMasterId r:id="rId48"/>
  </p:notesMasterIdLst>
  <p:handoutMasterIdLst>
    <p:handoutMasterId r:id="rId49"/>
  </p:handoutMasterIdLst>
  <p:sldIdLst>
    <p:sldId id="315" r:id="rId21"/>
    <p:sldId id="335" r:id="rId22"/>
    <p:sldId id="322" r:id="rId23"/>
    <p:sldId id="441" r:id="rId24"/>
    <p:sldId id="316" r:id="rId25"/>
    <p:sldId id="437" r:id="rId26"/>
    <p:sldId id="402" r:id="rId27"/>
    <p:sldId id="454" r:id="rId28"/>
    <p:sldId id="330" r:id="rId29"/>
    <p:sldId id="439" r:id="rId30"/>
    <p:sldId id="397" r:id="rId31"/>
    <p:sldId id="408" r:id="rId32"/>
    <p:sldId id="404" r:id="rId33"/>
    <p:sldId id="424" r:id="rId34"/>
    <p:sldId id="414" r:id="rId35"/>
    <p:sldId id="444" r:id="rId36"/>
    <p:sldId id="453" r:id="rId37"/>
    <p:sldId id="452" r:id="rId38"/>
    <p:sldId id="450" r:id="rId39"/>
    <p:sldId id="412" r:id="rId40"/>
    <p:sldId id="405" r:id="rId41"/>
    <p:sldId id="448" r:id="rId42"/>
    <p:sldId id="434" r:id="rId43"/>
    <p:sldId id="455" r:id="rId44"/>
    <p:sldId id="456" r:id="rId45"/>
    <p:sldId id="457" r:id="rId46"/>
    <p:sldId id="458" r:id="rId47"/>
  </p:sldIdLst>
  <p:sldSz cx="9144000" cy="6858000" type="screen4x3"/>
  <p:notesSz cx="7010400" cy="9296400"/>
  <p:embeddedFontLst>
    <p:embeddedFont>
      <p:font typeface="Verdana" panose="020B0604030504040204" pitchFamily="34" charset="0"/>
      <p:regular r:id="rId50"/>
      <p:bold r:id="rId51"/>
      <p:italic r:id="rId52"/>
      <p:boldItalic r:id="rId53"/>
    </p:embeddedFont>
    <p:embeddedFont>
      <p:font typeface="Times" panose="02020603050405020304" pitchFamily="18" charset="0"/>
      <p:regular r:id="rId54"/>
      <p:bold r:id="rId55"/>
      <p:italic r:id="rId56"/>
      <p:boldItalic r:id="rId57"/>
    </p:embeddedFont>
    <p:embeddedFont>
      <p:font typeface="Calibri" panose="020F0502020204030204" pitchFamily="34" charset="0"/>
      <p:regular r:id="rId58"/>
      <p:bold r:id="rId59"/>
      <p:italic r:id="rId60"/>
      <p:boldItalic r:id="rId61"/>
    </p:embeddedFont>
    <p:embeddedFont>
      <p:font typeface="Museo For Dell" panose="02000000000000000000" pitchFamily="2" charset="0"/>
      <p:regular r:id="rId62"/>
      <p:bold r:id="rId63"/>
    </p:embeddedFont>
    <p:embeddedFont>
      <p:font typeface="arial unicode ms" panose="020B0604020202020204" pitchFamily="34" charset="-128"/>
      <p:regular r:id="rId64"/>
    </p:embeddedFont>
    <p:embeddedFont>
      <p:font typeface="museo sans for dell" panose="02000000000000000000" pitchFamily="2" charset="0"/>
      <p:regular r:id="rId65"/>
      <p:bold r:id="rId66"/>
    </p:embeddedFont>
    <p:embeddedFont>
      <p:font typeface="Arial Black" panose="020B0A04020102020204" pitchFamily="34" charset="0"/>
      <p:bold r:id="rId67"/>
    </p:embeddedFont>
    <p:embeddedFont>
      <p:font typeface="Museo For Dell 300" panose="020B0604020202020204" charset="0"/>
      <p:regular r:id="rId68"/>
    </p:embeddedFont>
    <p:embeddedFont>
      <p:font typeface="Rockwell" panose="02060603020205020403" pitchFamily="18" charset="0"/>
      <p:regular r:id="rId69"/>
      <p:bold r:id="rId70"/>
      <p:italic r:id="rId71"/>
      <p:boldItalic r:id="rId72"/>
    </p:embeddedFont>
    <p:embeddedFont>
      <p:font typeface="Trebuchet MS" panose="020B0603020202020204" pitchFamily="34" charset="0"/>
      <p:regular r:id="rId73"/>
      <p:bold r:id="rId74"/>
      <p:italic r:id="rId75"/>
      <p:boldItalic r:id="rId76"/>
    </p:embeddedFont>
  </p:embeddedFontLst>
  <p:custDataLst>
    <p:tags r:id="rId7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AAB21FEE-64A7-4CF4-978A-C05CD8477E78}">
          <p14:sldIdLst>
            <p14:sldId id="315"/>
            <p14:sldId id="335"/>
            <p14:sldId id="322"/>
            <p14:sldId id="441"/>
            <p14:sldId id="316"/>
            <p14:sldId id="437"/>
            <p14:sldId id="402"/>
            <p14:sldId id="454"/>
            <p14:sldId id="330"/>
            <p14:sldId id="439"/>
            <p14:sldId id="397"/>
            <p14:sldId id="408"/>
            <p14:sldId id="404"/>
            <p14:sldId id="424"/>
            <p14:sldId id="414"/>
            <p14:sldId id="444"/>
            <p14:sldId id="453"/>
            <p14:sldId id="452"/>
            <p14:sldId id="450"/>
            <p14:sldId id="412"/>
            <p14:sldId id="405"/>
            <p14:sldId id="448"/>
            <p14:sldId id="434"/>
            <p14:sldId id="455"/>
            <p14:sldId id="456"/>
            <p14:sldId id="457"/>
            <p14:sldId id="458"/>
          </p14:sldIdLst>
        </p14:section>
      </p14:sectionLst>
    </p:ext>
    <p:ext uri="{EFAFB233-063F-42B5-8137-9DF3F51BA10A}">
      <p15:sldGuideLst xmlns="" xmlns:p15="http://schemas.microsoft.com/office/powerpoint/2012/main">
        <p15:guide id="1" orient="horz" pos="3757">
          <p15:clr>
            <a:srgbClr val="A4A3A4"/>
          </p15:clr>
        </p15:guide>
        <p15:guide id="2" pos="5577">
          <p15:clr>
            <a:srgbClr val="A4A3A4"/>
          </p15:clr>
        </p15:guide>
        <p15:guide id="3" pos="186">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295A"/>
    <a:srgbClr val="C82B67"/>
    <a:srgbClr val="DBF0FF"/>
    <a:srgbClr val="D2D3D2"/>
    <a:srgbClr val="C9DDEE"/>
    <a:srgbClr val="AAAAAA"/>
    <a:srgbClr val="74CAC7"/>
    <a:srgbClr val="6E2585"/>
    <a:srgbClr val="EEEEEE"/>
    <a:srgbClr val="F05B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21" autoAdjust="0"/>
    <p:restoredTop sz="81997" autoAdjust="0"/>
  </p:normalViewPr>
  <p:slideViewPr>
    <p:cSldViewPr snapToGrid="0">
      <p:cViewPr varScale="1">
        <p:scale>
          <a:sx n="71" d="100"/>
          <a:sy n="71" d="100"/>
        </p:scale>
        <p:origin x="-1488" y="-96"/>
      </p:cViewPr>
      <p:guideLst>
        <p:guide orient="horz" pos="3757"/>
        <p:guide pos="5577"/>
        <p:guide pos="18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0794"/>
    </p:cViewPr>
  </p:sorterViewPr>
  <p:notesViewPr>
    <p:cSldViewPr snapToGrid="0">
      <p:cViewPr varScale="1">
        <p:scale>
          <a:sx n="88" d="100"/>
          <a:sy n="88" d="100"/>
        </p:scale>
        <p:origin x="-3780"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font" Target="fonts/font19.fntdata"/><Relationship Id="rId76" Type="http://schemas.openxmlformats.org/officeDocument/2006/relationships/font" Target="fonts/font27.fntdata"/><Relationship Id="rId7" Type="http://schemas.openxmlformats.org/officeDocument/2006/relationships/slideMaster" Target="slideMasters/slideMaster4.xml"/><Relationship Id="rId71" Type="http://schemas.openxmlformats.org/officeDocument/2006/relationships/font" Target="fonts/font22.fntdata"/><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74" Type="http://schemas.openxmlformats.org/officeDocument/2006/relationships/font" Target="fonts/font25.fntdata"/><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12.fntdata"/><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73" Type="http://schemas.openxmlformats.org/officeDocument/2006/relationships/font" Target="fonts/font24.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font" Target="fonts/font20.fntdata"/><Relationship Id="rId77"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font" Target="fonts/font2.fntdata"/><Relationship Id="rId72" Type="http://schemas.openxmlformats.org/officeDocument/2006/relationships/font" Target="fonts/font23.fntdata"/><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font" Target="fonts/font10.fntdata"/><Relationship Id="rId67" Type="http://schemas.openxmlformats.org/officeDocument/2006/relationships/font" Target="fonts/font18.fntdata"/><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font" Target="fonts/font21.fntdata"/><Relationship Id="rId75" Type="http://schemas.openxmlformats.org/officeDocument/2006/relationships/font" Target="fonts/font26.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handoutMaster" Target="handoutMasters/handoutMaster1.xml"/><Relationship Id="rId57"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0F082A-F453-4B70-AF45-F39D7BB84411}"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B205427-FA1E-41E5-8C5D-157093FBA4AA}">
      <dgm:prSet/>
      <dgm:spPr/>
      <dgm:t>
        <a:bodyPr/>
        <a:lstStyle/>
        <a:p>
          <a:pPr rtl="0"/>
          <a:r>
            <a:rPr lang="en-US" smtClean="0"/>
            <a:t>Server Count</a:t>
          </a:r>
          <a:endParaRPr lang="en-US" dirty="0"/>
        </a:p>
      </dgm:t>
    </dgm:pt>
    <dgm:pt modelId="{20D17F2A-283B-4C71-8F5F-6EA83E2FA51C}" type="parTrans" cxnId="{D680BCD3-0717-4D8A-A90B-FCCC31716FCE}">
      <dgm:prSet/>
      <dgm:spPr/>
      <dgm:t>
        <a:bodyPr/>
        <a:lstStyle/>
        <a:p>
          <a:endParaRPr lang="en-US"/>
        </a:p>
      </dgm:t>
    </dgm:pt>
    <dgm:pt modelId="{ACB53AA1-1DD5-4B25-8325-54D5CB02FFC4}" type="sibTrans" cxnId="{D680BCD3-0717-4D8A-A90B-FCCC31716FCE}">
      <dgm:prSet/>
      <dgm:spPr/>
      <dgm:t>
        <a:bodyPr/>
        <a:lstStyle/>
        <a:p>
          <a:endParaRPr lang="en-US"/>
        </a:p>
      </dgm:t>
    </dgm:pt>
    <dgm:pt modelId="{4503EEF9-C2A9-48D1-ACD8-3E91D285BFFD}">
      <dgm:prSet custT="1"/>
      <dgm:spPr/>
      <dgm:t>
        <a:bodyPr/>
        <a:lstStyle/>
        <a:p>
          <a:pPr rtl="0"/>
          <a:r>
            <a:rPr lang="en-US" sz="1800" baseline="0" dirty="0" smtClean="0"/>
            <a:t>2100+ servers</a:t>
          </a:r>
          <a:endParaRPr lang="en-US" sz="1800" dirty="0"/>
        </a:p>
      </dgm:t>
    </dgm:pt>
    <dgm:pt modelId="{EAFFE444-A096-431F-839B-D597F049C947}" type="parTrans" cxnId="{E10AF022-9B9E-48F2-942D-C7411E6F1CC6}">
      <dgm:prSet/>
      <dgm:spPr/>
      <dgm:t>
        <a:bodyPr/>
        <a:lstStyle/>
        <a:p>
          <a:endParaRPr lang="en-US"/>
        </a:p>
      </dgm:t>
    </dgm:pt>
    <dgm:pt modelId="{2193C3CD-27C8-4477-8D64-D4B48B7DBBF8}" type="sibTrans" cxnId="{E10AF022-9B9E-48F2-942D-C7411E6F1CC6}">
      <dgm:prSet/>
      <dgm:spPr/>
      <dgm:t>
        <a:bodyPr/>
        <a:lstStyle/>
        <a:p>
          <a:endParaRPr lang="en-US"/>
        </a:p>
      </dgm:t>
    </dgm:pt>
    <dgm:pt modelId="{4FFA0A09-25BF-4ED4-8636-A5D72F629D22}">
      <dgm:prSet/>
      <dgm:spPr/>
      <dgm:t>
        <a:bodyPr/>
        <a:lstStyle/>
        <a:p>
          <a:pPr rtl="0"/>
          <a:r>
            <a:rPr lang="en-US" dirty="0" smtClean="0"/>
            <a:t>Software Library</a:t>
          </a:r>
          <a:endParaRPr lang="en-US" dirty="0"/>
        </a:p>
      </dgm:t>
    </dgm:pt>
    <dgm:pt modelId="{57381909-370F-42C9-9CB9-37E61DF54443}" type="parTrans" cxnId="{6E8B6527-CAB2-454F-93BD-80C076719510}">
      <dgm:prSet/>
      <dgm:spPr/>
      <dgm:t>
        <a:bodyPr/>
        <a:lstStyle/>
        <a:p>
          <a:endParaRPr lang="en-US"/>
        </a:p>
      </dgm:t>
    </dgm:pt>
    <dgm:pt modelId="{70F259FC-10D1-40B4-AA15-2CCFCAE08A38}" type="sibTrans" cxnId="{6E8B6527-CAB2-454F-93BD-80C076719510}">
      <dgm:prSet/>
      <dgm:spPr/>
      <dgm:t>
        <a:bodyPr/>
        <a:lstStyle/>
        <a:p>
          <a:endParaRPr lang="en-US"/>
        </a:p>
      </dgm:t>
    </dgm:pt>
    <dgm:pt modelId="{A7EF3831-7B9D-4DCE-95F2-74A0D2989F93}">
      <dgm:prSet custT="1"/>
      <dgm:spPr/>
      <dgm:t>
        <a:bodyPr/>
        <a:lstStyle/>
        <a:p>
          <a:pPr rtl="0"/>
          <a:r>
            <a:rPr lang="en-US" sz="1800" baseline="0" dirty="0" smtClean="0"/>
            <a:t>350+ Software Packages (rpms), many are installed across different servers types</a:t>
          </a:r>
          <a:endParaRPr lang="en-US" sz="1800" dirty="0"/>
        </a:p>
      </dgm:t>
    </dgm:pt>
    <dgm:pt modelId="{AD0C4D24-2945-43F4-A729-EA48E0D5BD63}" type="parTrans" cxnId="{650D9233-CB5F-4C02-9390-1C656E2BE366}">
      <dgm:prSet/>
      <dgm:spPr/>
      <dgm:t>
        <a:bodyPr/>
        <a:lstStyle/>
        <a:p>
          <a:endParaRPr lang="en-US"/>
        </a:p>
      </dgm:t>
    </dgm:pt>
    <dgm:pt modelId="{AE0A2331-6FE1-41AD-811F-692CD6AE7FBC}" type="sibTrans" cxnId="{650D9233-CB5F-4C02-9390-1C656E2BE366}">
      <dgm:prSet/>
      <dgm:spPr/>
      <dgm:t>
        <a:bodyPr/>
        <a:lstStyle/>
        <a:p>
          <a:endParaRPr lang="en-US"/>
        </a:p>
      </dgm:t>
    </dgm:pt>
    <dgm:pt modelId="{D1A7BDE3-A88A-49F7-8ED1-3979391919B2}">
      <dgm:prSet custT="1"/>
      <dgm:spPr/>
      <dgm:t>
        <a:bodyPr/>
        <a:lstStyle/>
        <a:p>
          <a:pPr rtl="0"/>
          <a:r>
            <a:rPr lang="en-US" sz="1800" baseline="0" smtClean="0"/>
            <a:t>Continuous software builds</a:t>
          </a:r>
          <a:endParaRPr lang="en-US" sz="1800"/>
        </a:p>
      </dgm:t>
    </dgm:pt>
    <dgm:pt modelId="{3D5EFA70-7062-48A6-A60B-D58CF9924E63}" type="parTrans" cxnId="{DBC47D91-6C36-4C70-9183-4E6001CFB47D}">
      <dgm:prSet/>
      <dgm:spPr/>
      <dgm:t>
        <a:bodyPr/>
        <a:lstStyle/>
        <a:p>
          <a:endParaRPr lang="en-US"/>
        </a:p>
      </dgm:t>
    </dgm:pt>
    <dgm:pt modelId="{23C73E6D-F7E5-4C21-B1BB-A1D5DFAB9E64}" type="sibTrans" cxnId="{DBC47D91-6C36-4C70-9183-4E6001CFB47D}">
      <dgm:prSet/>
      <dgm:spPr/>
      <dgm:t>
        <a:bodyPr/>
        <a:lstStyle/>
        <a:p>
          <a:endParaRPr lang="en-US"/>
        </a:p>
      </dgm:t>
    </dgm:pt>
    <dgm:pt modelId="{3A53542E-EE8C-4E03-8A85-41E8D7A1ECC1}">
      <dgm:prSet/>
      <dgm:spPr/>
      <dgm:t>
        <a:bodyPr/>
        <a:lstStyle/>
        <a:p>
          <a:pPr rtl="0"/>
          <a:r>
            <a:rPr lang="en-US" dirty="0" smtClean="0"/>
            <a:t>Configuration Management</a:t>
          </a:r>
          <a:endParaRPr lang="en-US" dirty="0"/>
        </a:p>
      </dgm:t>
    </dgm:pt>
    <dgm:pt modelId="{30992996-79D9-462F-8847-1EA3FF4FA85F}" type="parTrans" cxnId="{B0A0B0F0-BAAE-4480-B391-BD158FF62E1E}">
      <dgm:prSet/>
      <dgm:spPr/>
      <dgm:t>
        <a:bodyPr/>
        <a:lstStyle/>
        <a:p>
          <a:endParaRPr lang="en-US"/>
        </a:p>
      </dgm:t>
    </dgm:pt>
    <dgm:pt modelId="{02C26F4D-A711-49C6-922B-F1F892BFFDDF}" type="sibTrans" cxnId="{B0A0B0F0-BAAE-4480-B391-BD158FF62E1E}">
      <dgm:prSet/>
      <dgm:spPr/>
      <dgm:t>
        <a:bodyPr/>
        <a:lstStyle/>
        <a:p>
          <a:endParaRPr lang="en-US"/>
        </a:p>
      </dgm:t>
    </dgm:pt>
    <dgm:pt modelId="{B4AA4847-B7BF-4147-BD3D-22E046CCF3B8}">
      <dgm:prSet custT="1"/>
      <dgm:spPr/>
      <dgm:t>
        <a:bodyPr/>
        <a:lstStyle/>
        <a:p>
          <a:pPr rtl="0"/>
          <a:r>
            <a:rPr lang="en-US" sz="1800" baseline="0" dirty="0" smtClean="0"/>
            <a:t>No unified configuration management strategy</a:t>
          </a:r>
          <a:endParaRPr lang="en-US" sz="1800" dirty="0"/>
        </a:p>
      </dgm:t>
    </dgm:pt>
    <dgm:pt modelId="{F45AED92-ED35-4726-A032-00F762A9941F}" type="parTrans" cxnId="{2E498181-BC8B-4177-8B1E-FEB5F9148A5F}">
      <dgm:prSet/>
      <dgm:spPr/>
      <dgm:t>
        <a:bodyPr/>
        <a:lstStyle/>
        <a:p>
          <a:endParaRPr lang="en-US"/>
        </a:p>
      </dgm:t>
    </dgm:pt>
    <dgm:pt modelId="{7214ED96-5BD1-4515-9D0A-747293D9176A}" type="sibTrans" cxnId="{2E498181-BC8B-4177-8B1E-FEB5F9148A5F}">
      <dgm:prSet/>
      <dgm:spPr/>
      <dgm:t>
        <a:bodyPr/>
        <a:lstStyle/>
        <a:p>
          <a:endParaRPr lang="en-US"/>
        </a:p>
      </dgm:t>
    </dgm:pt>
    <dgm:pt modelId="{6E0F4810-18AE-49B3-A591-D51816478287}">
      <dgm:prSet custT="1"/>
      <dgm:spPr/>
      <dgm:t>
        <a:bodyPr/>
        <a:lstStyle/>
        <a:p>
          <a:pPr rtl="0"/>
          <a:r>
            <a:rPr lang="en-US" sz="1800" baseline="0" dirty="0" smtClean="0"/>
            <a:t>Harmonious system which can be crippled by a misconfiguration</a:t>
          </a:r>
          <a:endParaRPr lang="en-US" sz="1800" dirty="0"/>
        </a:p>
      </dgm:t>
    </dgm:pt>
    <dgm:pt modelId="{DBCD8522-09B4-4A4F-843C-711EC7255ACE}" type="parTrans" cxnId="{3B3221BB-FE29-46E9-A69D-AFC3ADD287B7}">
      <dgm:prSet/>
      <dgm:spPr/>
      <dgm:t>
        <a:bodyPr/>
        <a:lstStyle/>
        <a:p>
          <a:endParaRPr lang="en-US"/>
        </a:p>
      </dgm:t>
    </dgm:pt>
    <dgm:pt modelId="{339C8608-5607-4FE7-B4E7-4930ABEC3628}" type="sibTrans" cxnId="{3B3221BB-FE29-46E9-A69D-AFC3ADD287B7}">
      <dgm:prSet/>
      <dgm:spPr/>
      <dgm:t>
        <a:bodyPr/>
        <a:lstStyle/>
        <a:p>
          <a:endParaRPr lang="en-US"/>
        </a:p>
      </dgm:t>
    </dgm:pt>
    <dgm:pt modelId="{FBCB2E35-9C12-4012-A5A2-6179ADBC35CA}">
      <dgm:prSet custT="1"/>
      <dgm:spPr/>
      <dgm:t>
        <a:bodyPr/>
        <a:lstStyle/>
        <a:p>
          <a:pPr rtl="0"/>
          <a:r>
            <a:rPr lang="en-US" sz="1800" baseline="0" dirty="0" smtClean="0"/>
            <a:t>80+ different server-types</a:t>
          </a:r>
          <a:endParaRPr lang="en-US" sz="1800" dirty="0"/>
        </a:p>
      </dgm:t>
    </dgm:pt>
    <dgm:pt modelId="{D49F6859-D6F8-47D3-9DFD-30BF386BE9F1}" type="parTrans" cxnId="{36A2D3E9-9551-42E5-9867-8F6B65997AF1}">
      <dgm:prSet/>
      <dgm:spPr/>
      <dgm:t>
        <a:bodyPr/>
        <a:lstStyle/>
        <a:p>
          <a:endParaRPr lang="en-US"/>
        </a:p>
      </dgm:t>
    </dgm:pt>
    <dgm:pt modelId="{ACF19E1B-232A-4C61-9A7C-7E4D6C06DB2F}" type="sibTrans" cxnId="{36A2D3E9-9551-42E5-9867-8F6B65997AF1}">
      <dgm:prSet/>
      <dgm:spPr/>
      <dgm:t>
        <a:bodyPr/>
        <a:lstStyle/>
        <a:p>
          <a:endParaRPr lang="en-US"/>
        </a:p>
      </dgm:t>
    </dgm:pt>
    <dgm:pt modelId="{A9915B8C-CB1E-4BAD-B455-B334FEAB7A5E}" type="pres">
      <dgm:prSet presAssocID="{9F0F082A-F453-4B70-AF45-F39D7BB84411}" presName="Name0" presStyleCnt="0">
        <dgm:presLayoutVars>
          <dgm:dir/>
          <dgm:animLvl val="lvl"/>
          <dgm:resizeHandles val="exact"/>
        </dgm:presLayoutVars>
      </dgm:prSet>
      <dgm:spPr/>
      <dgm:t>
        <a:bodyPr/>
        <a:lstStyle/>
        <a:p>
          <a:endParaRPr lang="en-US"/>
        </a:p>
      </dgm:t>
    </dgm:pt>
    <dgm:pt modelId="{66DD01E2-E4D4-43BA-AFF5-20FC888C4085}" type="pres">
      <dgm:prSet presAssocID="{0B205427-FA1E-41E5-8C5D-157093FBA4AA}" presName="linNode" presStyleCnt="0"/>
      <dgm:spPr/>
      <dgm:t>
        <a:bodyPr/>
        <a:lstStyle/>
        <a:p>
          <a:endParaRPr lang="en-US"/>
        </a:p>
      </dgm:t>
    </dgm:pt>
    <dgm:pt modelId="{50BF62D5-122B-4B0D-9B88-C5D7E3BD1917}" type="pres">
      <dgm:prSet presAssocID="{0B205427-FA1E-41E5-8C5D-157093FBA4AA}" presName="parentText" presStyleLbl="node1" presStyleIdx="0" presStyleCnt="3">
        <dgm:presLayoutVars>
          <dgm:chMax val="1"/>
          <dgm:bulletEnabled val="1"/>
        </dgm:presLayoutVars>
      </dgm:prSet>
      <dgm:spPr/>
      <dgm:t>
        <a:bodyPr/>
        <a:lstStyle/>
        <a:p>
          <a:endParaRPr lang="en-US"/>
        </a:p>
      </dgm:t>
    </dgm:pt>
    <dgm:pt modelId="{F3F1AD6E-83C5-4664-8F28-2DFCA45D243F}" type="pres">
      <dgm:prSet presAssocID="{0B205427-FA1E-41E5-8C5D-157093FBA4AA}" presName="descendantText" presStyleLbl="alignAccFollowNode1" presStyleIdx="0" presStyleCnt="3">
        <dgm:presLayoutVars>
          <dgm:bulletEnabled val="1"/>
        </dgm:presLayoutVars>
      </dgm:prSet>
      <dgm:spPr/>
      <dgm:t>
        <a:bodyPr/>
        <a:lstStyle/>
        <a:p>
          <a:endParaRPr lang="en-US"/>
        </a:p>
      </dgm:t>
    </dgm:pt>
    <dgm:pt modelId="{A97B6FCF-E803-47B4-979B-BC91747B616D}" type="pres">
      <dgm:prSet presAssocID="{ACB53AA1-1DD5-4B25-8325-54D5CB02FFC4}" presName="sp" presStyleCnt="0"/>
      <dgm:spPr/>
      <dgm:t>
        <a:bodyPr/>
        <a:lstStyle/>
        <a:p>
          <a:endParaRPr lang="en-US"/>
        </a:p>
      </dgm:t>
    </dgm:pt>
    <dgm:pt modelId="{83E0BCE5-D34F-4AD0-9973-32D2E4A0AE71}" type="pres">
      <dgm:prSet presAssocID="{4FFA0A09-25BF-4ED4-8636-A5D72F629D22}" presName="linNode" presStyleCnt="0"/>
      <dgm:spPr/>
    </dgm:pt>
    <dgm:pt modelId="{A360B1A7-EEF9-459A-BAD5-24C2E8B80895}" type="pres">
      <dgm:prSet presAssocID="{4FFA0A09-25BF-4ED4-8636-A5D72F629D22}" presName="parentText" presStyleLbl="node1" presStyleIdx="1" presStyleCnt="3">
        <dgm:presLayoutVars>
          <dgm:chMax val="1"/>
          <dgm:bulletEnabled val="1"/>
        </dgm:presLayoutVars>
      </dgm:prSet>
      <dgm:spPr/>
      <dgm:t>
        <a:bodyPr/>
        <a:lstStyle/>
        <a:p>
          <a:endParaRPr lang="en-US"/>
        </a:p>
      </dgm:t>
    </dgm:pt>
    <dgm:pt modelId="{7CDFA1AB-BD38-44AD-B782-856FA8E2B408}" type="pres">
      <dgm:prSet presAssocID="{4FFA0A09-25BF-4ED4-8636-A5D72F629D22}" presName="descendantText" presStyleLbl="alignAccFollowNode1" presStyleIdx="1" presStyleCnt="3">
        <dgm:presLayoutVars>
          <dgm:bulletEnabled val="1"/>
        </dgm:presLayoutVars>
      </dgm:prSet>
      <dgm:spPr/>
      <dgm:t>
        <a:bodyPr/>
        <a:lstStyle/>
        <a:p>
          <a:endParaRPr lang="en-US"/>
        </a:p>
      </dgm:t>
    </dgm:pt>
    <dgm:pt modelId="{7DB8EEAC-6274-4450-BC3E-A3697DDB19E9}" type="pres">
      <dgm:prSet presAssocID="{70F259FC-10D1-40B4-AA15-2CCFCAE08A38}" presName="sp" presStyleCnt="0"/>
      <dgm:spPr/>
    </dgm:pt>
    <dgm:pt modelId="{AF8A3CEB-7B76-40DC-BCFA-7B71136A030B}" type="pres">
      <dgm:prSet presAssocID="{3A53542E-EE8C-4E03-8A85-41E8D7A1ECC1}" presName="linNode" presStyleCnt="0"/>
      <dgm:spPr/>
    </dgm:pt>
    <dgm:pt modelId="{61883B42-D327-4F4F-8ECA-32EDE60071EB}" type="pres">
      <dgm:prSet presAssocID="{3A53542E-EE8C-4E03-8A85-41E8D7A1ECC1}" presName="parentText" presStyleLbl="node1" presStyleIdx="2" presStyleCnt="3">
        <dgm:presLayoutVars>
          <dgm:chMax val="1"/>
          <dgm:bulletEnabled val="1"/>
        </dgm:presLayoutVars>
      </dgm:prSet>
      <dgm:spPr/>
      <dgm:t>
        <a:bodyPr/>
        <a:lstStyle/>
        <a:p>
          <a:endParaRPr lang="en-US"/>
        </a:p>
      </dgm:t>
    </dgm:pt>
    <dgm:pt modelId="{B7BE3565-7BA6-4E16-83D6-B29244F51071}" type="pres">
      <dgm:prSet presAssocID="{3A53542E-EE8C-4E03-8A85-41E8D7A1ECC1}" presName="descendantText" presStyleLbl="alignAccFollowNode1" presStyleIdx="2" presStyleCnt="3">
        <dgm:presLayoutVars>
          <dgm:bulletEnabled val="1"/>
        </dgm:presLayoutVars>
      </dgm:prSet>
      <dgm:spPr/>
      <dgm:t>
        <a:bodyPr/>
        <a:lstStyle/>
        <a:p>
          <a:endParaRPr lang="en-US"/>
        </a:p>
      </dgm:t>
    </dgm:pt>
  </dgm:ptLst>
  <dgm:cxnLst>
    <dgm:cxn modelId="{DBC47D91-6C36-4C70-9183-4E6001CFB47D}" srcId="{4FFA0A09-25BF-4ED4-8636-A5D72F629D22}" destId="{D1A7BDE3-A88A-49F7-8ED1-3979391919B2}" srcOrd="1" destOrd="0" parTransId="{3D5EFA70-7062-48A6-A60B-D58CF9924E63}" sibTransId="{23C73E6D-F7E5-4C21-B1BB-A1D5DFAB9E64}"/>
    <dgm:cxn modelId="{98D4FC3B-F4EE-495B-94CD-AE3CE144C1EC}" type="presOf" srcId="{D1A7BDE3-A88A-49F7-8ED1-3979391919B2}" destId="{7CDFA1AB-BD38-44AD-B782-856FA8E2B408}" srcOrd="0" destOrd="1" presId="urn:microsoft.com/office/officeart/2005/8/layout/vList5"/>
    <dgm:cxn modelId="{176F26D0-884A-45FD-86E8-4994D2730985}" type="presOf" srcId="{3A53542E-EE8C-4E03-8A85-41E8D7A1ECC1}" destId="{61883B42-D327-4F4F-8ECA-32EDE60071EB}" srcOrd="0" destOrd="0" presId="urn:microsoft.com/office/officeart/2005/8/layout/vList5"/>
    <dgm:cxn modelId="{EC3E42BF-4E43-4938-A0B1-3E4663587E0A}" type="presOf" srcId="{0B205427-FA1E-41E5-8C5D-157093FBA4AA}" destId="{50BF62D5-122B-4B0D-9B88-C5D7E3BD1917}" srcOrd="0" destOrd="0" presId="urn:microsoft.com/office/officeart/2005/8/layout/vList5"/>
    <dgm:cxn modelId="{2E498181-BC8B-4177-8B1E-FEB5F9148A5F}" srcId="{3A53542E-EE8C-4E03-8A85-41E8D7A1ECC1}" destId="{B4AA4847-B7BF-4147-BD3D-22E046CCF3B8}" srcOrd="0" destOrd="0" parTransId="{F45AED92-ED35-4726-A032-00F762A9941F}" sibTransId="{7214ED96-5BD1-4515-9D0A-747293D9176A}"/>
    <dgm:cxn modelId="{D680BCD3-0717-4D8A-A90B-FCCC31716FCE}" srcId="{9F0F082A-F453-4B70-AF45-F39D7BB84411}" destId="{0B205427-FA1E-41E5-8C5D-157093FBA4AA}" srcOrd="0" destOrd="0" parTransId="{20D17F2A-283B-4C71-8F5F-6EA83E2FA51C}" sibTransId="{ACB53AA1-1DD5-4B25-8325-54D5CB02FFC4}"/>
    <dgm:cxn modelId="{E6148DFA-4A69-4F3E-9408-B7F38DB86CB2}" type="presOf" srcId="{B4AA4847-B7BF-4147-BD3D-22E046CCF3B8}" destId="{B7BE3565-7BA6-4E16-83D6-B29244F51071}" srcOrd="0" destOrd="0" presId="urn:microsoft.com/office/officeart/2005/8/layout/vList5"/>
    <dgm:cxn modelId="{455B62E3-4540-49D1-8663-11A8D7991F6B}" type="presOf" srcId="{FBCB2E35-9C12-4012-A5A2-6179ADBC35CA}" destId="{F3F1AD6E-83C5-4664-8F28-2DFCA45D243F}" srcOrd="0" destOrd="1" presId="urn:microsoft.com/office/officeart/2005/8/layout/vList5"/>
    <dgm:cxn modelId="{3B3221BB-FE29-46E9-A69D-AFC3ADD287B7}" srcId="{3A53542E-EE8C-4E03-8A85-41E8D7A1ECC1}" destId="{6E0F4810-18AE-49B3-A591-D51816478287}" srcOrd="1" destOrd="0" parTransId="{DBCD8522-09B4-4A4F-843C-711EC7255ACE}" sibTransId="{339C8608-5607-4FE7-B4E7-4930ABEC3628}"/>
    <dgm:cxn modelId="{B0A0B0F0-BAAE-4480-B391-BD158FF62E1E}" srcId="{9F0F082A-F453-4B70-AF45-F39D7BB84411}" destId="{3A53542E-EE8C-4E03-8A85-41E8D7A1ECC1}" srcOrd="2" destOrd="0" parTransId="{30992996-79D9-462F-8847-1EA3FF4FA85F}" sibTransId="{02C26F4D-A711-49C6-922B-F1F892BFFDDF}"/>
    <dgm:cxn modelId="{DD72D731-159E-4D64-9EB2-AFCF88D4000B}" type="presOf" srcId="{4503EEF9-C2A9-48D1-ACD8-3E91D285BFFD}" destId="{F3F1AD6E-83C5-4664-8F28-2DFCA45D243F}" srcOrd="0" destOrd="0" presId="urn:microsoft.com/office/officeart/2005/8/layout/vList5"/>
    <dgm:cxn modelId="{36A2D3E9-9551-42E5-9867-8F6B65997AF1}" srcId="{0B205427-FA1E-41E5-8C5D-157093FBA4AA}" destId="{FBCB2E35-9C12-4012-A5A2-6179ADBC35CA}" srcOrd="1" destOrd="0" parTransId="{D49F6859-D6F8-47D3-9DFD-30BF386BE9F1}" sibTransId="{ACF19E1B-232A-4C61-9A7C-7E4D6C06DB2F}"/>
    <dgm:cxn modelId="{78341F9B-7AF7-4AE2-9A4B-8DE12FCC32AB}" type="presOf" srcId="{9F0F082A-F453-4B70-AF45-F39D7BB84411}" destId="{A9915B8C-CB1E-4BAD-B455-B334FEAB7A5E}" srcOrd="0" destOrd="0" presId="urn:microsoft.com/office/officeart/2005/8/layout/vList5"/>
    <dgm:cxn modelId="{6E8B6527-CAB2-454F-93BD-80C076719510}" srcId="{9F0F082A-F453-4B70-AF45-F39D7BB84411}" destId="{4FFA0A09-25BF-4ED4-8636-A5D72F629D22}" srcOrd="1" destOrd="0" parTransId="{57381909-370F-42C9-9CB9-37E61DF54443}" sibTransId="{70F259FC-10D1-40B4-AA15-2CCFCAE08A38}"/>
    <dgm:cxn modelId="{36378FE2-2FCB-44E3-9A69-64D3183E5EF0}" type="presOf" srcId="{4FFA0A09-25BF-4ED4-8636-A5D72F629D22}" destId="{A360B1A7-EEF9-459A-BAD5-24C2E8B80895}" srcOrd="0" destOrd="0" presId="urn:microsoft.com/office/officeart/2005/8/layout/vList5"/>
    <dgm:cxn modelId="{E10AF022-9B9E-48F2-942D-C7411E6F1CC6}" srcId="{0B205427-FA1E-41E5-8C5D-157093FBA4AA}" destId="{4503EEF9-C2A9-48D1-ACD8-3E91D285BFFD}" srcOrd="0" destOrd="0" parTransId="{EAFFE444-A096-431F-839B-D597F049C947}" sibTransId="{2193C3CD-27C8-4477-8D64-D4B48B7DBBF8}"/>
    <dgm:cxn modelId="{5DFAC7D8-5996-4D5A-8A8A-B0CFC492F378}" type="presOf" srcId="{A7EF3831-7B9D-4DCE-95F2-74A0D2989F93}" destId="{7CDFA1AB-BD38-44AD-B782-856FA8E2B408}" srcOrd="0" destOrd="0" presId="urn:microsoft.com/office/officeart/2005/8/layout/vList5"/>
    <dgm:cxn modelId="{650D9233-CB5F-4C02-9390-1C656E2BE366}" srcId="{4FFA0A09-25BF-4ED4-8636-A5D72F629D22}" destId="{A7EF3831-7B9D-4DCE-95F2-74A0D2989F93}" srcOrd="0" destOrd="0" parTransId="{AD0C4D24-2945-43F4-A729-EA48E0D5BD63}" sibTransId="{AE0A2331-6FE1-41AD-811F-692CD6AE7FBC}"/>
    <dgm:cxn modelId="{9972DA55-5BD9-4CC4-B8D9-6958B2EDCD3E}" type="presOf" srcId="{6E0F4810-18AE-49B3-A591-D51816478287}" destId="{B7BE3565-7BA6-4E16-83D6-B29244F51071}" srcOrd="0" destOrd="1" presId="urn:microsoft.com/office/officeart/2005/8/layout/vList5"/>
    <dgm:cxn modelId="{7301A679-AF75-4423-9D68-7C437C8D81DF}" type="presParOf" srcId="{A9915B8C-CB1E-4BAD-B455-B334FEAB7A5E}" destId="{66DD01E2-E4D4-43BA-AFF5-20FC888C4085}" srcOrd="0" destOrd="0" presId="urn:microsoft.com/office/officeart/2005/8/layout/vList5"/>
    <dgm:cxn modelId="{2A661351-2A6D-429F-ABBC-767F196E0401}" type="presParOf" srcId="{66DD01E2-E4D4-43BA-AFF5-20FC888C4085}" destId="{50BF62D5-122B-4B0D-9B88-C5D7E3BD1917}" srcOrd="0" destOrd="0" presId="urn:microsoft.com/office/officeart/2005/8/layout/vList5"/>
    <dgm:cxn modelId="{0D1EAA61-75BC-4C55-9D61-9D6AA8D35F15}" type="presParOf" srcId="{66DD01E2-E4D4-43BA-AFF5-20FC888C4085}" destId="{F3F1AD6E-83C5-4664-8F28-2DFCA45D243F}" srcOrd="1" destOrd="0" presId="urn:microsoft.com/office/officeart/2005/8/layout/vList5"/>
    <dgm:cxn modelId="{0B3403F9-C407-4A02-B490-D46D931CE7C1}" type="presParOf" srcId="{A9915B8C-CB1E-4BAD-B455-B334FEAB7A5E}" destId="{A97B6FCF-E803-47B4-979B-BC91747B616D}" srcOrd="1" destOrd="0" presId="urn:microsoft.com/office/officeart/2005/8/layout/vList5"/>
    <dgm:cxn modelId="{E32B6FE1-10CA-47DE-9B1A-386DC341B86D}" type="presParOf" srcId="{A9915B8C-CB1E-4BAD-B455-B334FEAB7A5E}" destId="{83E0BCE5-D34F-4AD0-9973-32D2E4A0AE71}" srcOrd="2" destOrd="0" presId="urn:microsoft.com/office/officeart/2005/8/layout/vList5"/>
    <dgm:cxn modelId="{59DEE785-FB2F-4B61-9761-127023F556A1}" type="presParOf" srcId="{83E0BCE5-D34F-4AD0-9973-32D2E4A0AE71}" destId="{A360B1A7-EEF9-459A-BAD5-24C2E8B80895}" srcOrd="0" destOrd="0" presId="urn:microsoft.com/office/officeart/2005/8/layout/vList5"/>
    <dgm:cxn modelId="{F386B6A1-F269-47BE-AA8E-796DFA2BDD4D}" type="presParOf" srcId="{83E0BCE5-D34F-4AD0-9973-32D2E4A0AE71}" destId="{7CDFA1AB-BD38-44AD-B782-856FA8E2B408}" srcOrd="1" destOrd="0" presId="urn:microsoft.com/office/officeart/2005/8/layout/vList5"/>
    <dgm:cxn modelId="{620B060F-76FF-4302-9565-964BB8FF7109}" type="presParOf" srcId="{A9915B8C-CB1E-4BAD-B455-B334FEAB7A5E}" destId="{7DB8EEAC-6274-4450-BC3E-A3697DDB19E9}" srcOrd="3" destOrd="0" presId="urn:microsoft.com/office/officeart/2005/8/layout/vList5"/>
    <dgm:cxn modelId="{83F33F0F-050C-41CE-974E-1535EB4B8E08}" type="presParOf" srcId="{A9915B8C-CB1E-4BAD-B455-B334FEAB7A5E}" destId="{AF8A3CEB-7B76-40DC-BCFA-7B71136A030B}" srcOrd="4" destOrd="0" presId="urn:microsoft.com/office/officeart/2005/8/layout/vList5"/>
    <dgm:cxn modelId="{0B4286B1-1EF3-4A8C-9877-4D2632D5999D}" type="presParOf" srcId="{AF8A3CEB-7B76-40DC-BCFA-7B71136A030B}" destId="{61883B42-D327-4F4F-8ECA-32EDE60071EB}" srcOrd="0" destOrd="0" presId="urn:microsoft.com/office/officeart/2005/8/layout/vList5"/>
    <dgm:cxn modelId="{8E8E53B8-AED0-4B52-898A-49BB76736BB8}" type="presParOf" srcId="{AF8A3CEB-7B76-40DC-BCFA-7B71136A030B}" destId="{B7BE3565-7BA6-4E16-83D6-B29244F5107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A09C2C-59C8-4DD6-B622-7E4ED94B98AF}"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631C75BE-659F-4F75-99CB-A814CA1EB306}">
      <dgm:prSet/>
      <dgm:spPr/>
      <dgm:t>
        <a:bodyPr/>
        <a:lstStyle/>
        <a:p>
          <a:pPr rtl="0"/>
          <a:r>
            <a:rPr lang="en-US" smtClean="0"/>
            <a:t>Datacenters Locations</a:t>
          </a:r>
          <a:endParaRPr lang="en-US" dirty="0"/>
        </a:p>
      </dgm:t>
    </dgm:pt>
    <dgm:pt modelId="{33126CBB-A85D-41DD-83CC-19421B1F10B9}" type="parTrans" cxnId="{DF462BC4-83A4-4813-818C-6A9104CA32FA}">
      <dgm:prSet/>
      <dgm:spPr/>
      <dgm:t>
        <a:bodyPr/>
        <a:lstStyle/>
        <a:p>
          <a:endParaRPr lang="en-US"/>
        </a:p>
      </dgm:t>
    </dgm:pt>
    <dgm:pt modelId="{B9D13B42-A714-4C55-B898-8ADAD4010DD9}" type="sibTrans" cxnId="{DF462BC4-83A4-4813-818C-6A9104CA32FA}">
      <dgm:prSet/>
      <dgm:spPr/>
      <dgm:t>
        <a:bodyPr/>
        <a:lstStyle/>
        <a:p>
          <a:endParaRPr lang="en-US"/>
        </a:p>
      </dgm:t>
    </dgm:pt>
    <dgm:pt modelId="{8D3C2AA1-2042-4B64-831E-1089B7725C11}">
      <dgm:prSet custT="1"/>
      <dgm:spPr/>
      <dgm:t>
        <a:bodyPr/>
        <a:lstStyle/>
        <a:p>
          <a:pPr rtl="0"/>
          <a:r>
            <a:rPr lang="en-US" sz="1600" baseline="0" dirty="0" smtClean="0"/>
            <a:t>Datacenters in different geographies, active/active model</a:t>
          </a:r>
          <a:endParaRPr lang="en-US" sz="1600" dirty="0"/>
        </a:p>
      </dgm:t>
    </dgm:pt>
    <dgm:pt modelId="{5CC541F7-776A-4DFF-BEA0-67BF33A9B674}" type="parTrans" cxnId="{DA9E490C-DA66-49E2-8E73-98FAA00DE464}">
      <dgm:prSet/>
      <dgm:spPr/>
      <dgm:t>
        <a:bodyPr/>
        <a:lstStyle/>
        <a:p>
          <a:endParaRPr lang="en-US"/>
        </a:p>
      </dgm:t>
    </dgm:pt>
    <dgm:pt modelId="{75B91318-3172-4BE1-AFDF-2E2015211061}" type="sibTrans" cxnId="{DA9E490C-DA66-49E2-8E73-98FAA00DE464}">
      <dgm:prSet/>
      <dgm:spPr/>
      <dgm:t>
        <a:bodyPr/>
        <a:lstStyle/>
        <a:p>
          <a:endParaRPr lang="en-US"/>
        </a:p>
      </dgm:t>
    </dgm:pt>
    <dgm:pt modelId="{33D36326-B2B0-497B-A7B8-E478AA7435F1}">
      <dgm:prSet custT="1"/>
      <dgm:spPr/>
      <dgm:t>
        <a:bodyPr/>
        <a:lstStyle/>
        <a:p>
          <a:pPr rtl="0"/>
          <a:r>
            <a:rPr lang="en-US" sz="1600" baseline="0" dirty="0" smtClean="0"/>
            <a:t>Production &amp; lab datacenter not 100% aligned</a:t>
          </a:r>
          <a:endParaRPr lang="en-US" sz="1600" dirty="0"/>
        </a:p>
      </dgm:t>
    </dgm:pt>
    <dgm:pt modelId="{6B0D51E3-1F2F-4902-BD40-168B990678EA}" type="parTrans" cxnId="{E4CB3519-24B5-4193-849A-B381D5FAE8D5}">
      <dgm:prSet/>
      <dgm:spPr/>
      <dgm:t>
        <a:bodyPr/>
        <a:lstStyle/>
        <a:p>
          <a:endParaRPr lang="en-US"/>
        </a:p>
      </dgm:t>
    </dgm:pt>
    <dgm:pt modelId="{DCB1108E-63A1-454A-A6D7-146DAC2CBE62}" type="sibTrans" cxnId="{E4CB3519-24B5-4193-849A-B381D5FAE8D5}">
      <dgm:prSet/>
      <dgm:spPr/>
      <dgm:t>
        <a:bodyPr/>
        <a:lstStyle/>
        <a:p>
          <a:endParaRPr lang="en-US"/>
        </a:p>
      </dgm:t>
    </dgm:pt>
    <dgm:pt modelId="{F691230B-9C1C-48AF-8484-BD216FD797BF}">
      <dgm:prSet/>
      <dgm:spPr/>
      <dgm:t>
        <a:bodyPr/>
        <a:lstStyle/>
        <a:p>
          <a:pPr rtl="0"/>
          <a:r>
            <a:rPr lang="en-US" smtClean="0"/>
            <a:t>Network Segmentation</a:t>
          </a:r>
          <a:endParaRPr lang="en-US"/>
        </a:p>
      </dgm:t>
    </dgm:pt>
    <dgm:pt modelId="{16BC6529-A0CB-4DE3-9BB9-EA0E48231977}" type="parTrans" cxnId="{1629131F-91A7-45DC-B7B1-8AE011FA76D4}">
      <dgm:prSet/>
      <dgm:spPr/>
      <dgm:t>
        <a:bodyPr/>
        <a:lstStyle/>
        <a:p>
          <a:endParaRPr lang="en-US"/>
        </a:p>
      </dgm:t>
    </dgm:pt>
    <dgm:pt modelId="{C5F6A8E9-D9F2-4BB2-B047-53A99C8F20D8}" type="sibTrans" cxnId="{1629131F-91A7-45DC-B7B1-8AE011FA76D4}">
      <dgm:prSet/>
      <dgm:spPr/>
      <dgm:t>
        <a:bodyPr/>
        <a:lstStyle/>
        <a:p>
          <a:endParaRPr lang="en-US"/>
        </a:p>
      </dgm:t>
    </dgm:pt>
    <dgm:pt modelId="{B2591EF8-7089-4776-8BEC-C299BD6EC300}">
      <dgm:prSet custT="1"/>
      <dgm:spPr/>
      <dgm:t>
        <a:bodyPr/>
        <a:lstStyle/>
        <a:p>
          <a:pPr rtl="0"/>
          <a:r>
            <a:rPr lang="en-US" sz="1600" baseline="0" dirty="0" smtClean="0"/>
            <a:t>Network segmentation driven by security requirements </a:t>
          </a:r>
          <a:endParaRPr lang="en-US" sz="1600" dirty="0"/>
        </a:p>
      </dgm:t>
    </dgm:pt>
    <dgm:pt modelId="{81411AE4-AB2A-4FED-A0E8-609435AB3295}" type="parTrans" cxnId="{F608BC92-7913-47D3-9343-5A281900D787}">
      <dgm:prSet/>
      <dgm:spPr/>
      <dgm:t>
        <a:bodyPr/>
        <a:lstStyle/>
        <a:p>
          <a:endParaRPr lang="en-US"/>
        </a:p>
      </dgm:t>
    </dgm:pt>
    <dgm:pt modelId="{B2C3F57F-4D45-4399-8D23-CF3144B92ABF}" type="sibTrans" cxnId="{F608BC92-7913-47D3-9343-5A281900D787}">
      <dgm:prSet/>
      <dgm:spPr/>
      <dgm:t>
        <a:bodyPr/>
        <a:lstStyle/>
        <a:p>
          <a:endParaRPr lang="en-US"/>
        </a:p>
      </dgm:t>
    </dgm:pt>
    <dgm:pt modelId="{594BF891-B46A-4142-8F76-2FA441805C27}">
      <dgm:prSet custT="1"/>
      <dgm:spPr/>
      <dgm:t>
        <a:bodyPr/>
        <a:lstStyle/>
        <a:p>
          <a:pPr rtl="0"/>
          <a:r>
            <a:rPr lang="en-US" sz="1600" baseline="0" dirty="0" smtClean="0"/>
            <a:t>Segmentation between production and lab silos</a:t>
          </a:r>
          <a:endParaRPr lang="en-US" sz="1600" dirty="0"/>
        </a:p>
      </dgm:t>
    </dgm:pt>
    <dgm:pt modelId="{1A91E1E2-7549-4947-AF89-AFBC22CC3171}" type="parTrans" cxnId="{B38AFF43-A53B-4711-A18D-989335554266}">
      <dgm:prSet/>
      <dgm:spPr/>
      <dgm:t>
        <a:bodyPr/>
        <a:lstStyle/>
        <a:p>
          <a:endParaRPr lang="en-US"/>
        </a:p>
      </dgm:t>
    </dgm:pt>
    <dgm:pt modelId="{938C196D-6B6C-4450-B042-B7BE92880738}" type="sibTrans" cxnId="{B38AFF43-A53B-4711-A18D-989335554266}">
      <dgm:prSet/>
      <dgm:spPr/>
      <dgm:t>
        <a:bodyPr/>
        <a:lstStyle/>
        <a:p>
          <a:endParaRPr lang="en-US"/>
        </a:p>
      </dgm:t>
    </dgm:pt>
    <dgm:pt modelId="{7DC1F6C5-E372-4F67-AF3E-4D7164198B2A}">
      <dgm:prSet custT="1"/>
      <dgm:spPr/>
      <dgm:t>
        <a:bodyPr/>
        <a:lstStyle/>
        <a:p>
          <a:pPr rtl="0"/>
          <a:r>
            <a:rPr lang="en-US" sz="1600" baseline="0" smtClean="0"/>
            <a:t>Segmentation between networks within silos </a:t>
          </a:r>
          <a:endParaRPr lang="en-US" sz="1600"/>
        </a:p>
      </dgm:t>
    </dgm:pt>
    <dgm:pt modelId="{DC8A4E80-3A54-4A4C-B049-0D8647DB21DF}" type="parTrans" cxnId="{D9799957-C417-4561-AB79-D54433C78299}">
      <dgm:prSet/>
      <dgm:spPr/>
      <dgm:t>
        <a:bodyPr/>
        <a:lstStyle/>
        <a:p>
          <a:endParaRPr lang="en-US"/>
        </a:p>
      </dgm:t>
    </dgm:pt>
    <dgm:pt modelId="{53680C0D-18E4-481B-AE8E-3B3D27453424}" type="sibTrans" cxnId="{D9799957-C417-4561-AB79-D54433C78299}">
      <dgm:prSet/>
      <dgm:spPr/>
      <dgm:t>
        <a:bodyPr/>
        <a:lstStyle/>
        <a:p>
          <a:endParaRPr lang="en-US"/>
        </a:p>
      </dgm:t>
    </dgm:pt>
    <dgm:pt modelId="{A4E9EFB4-A150-454C-A846-5CC57D6D154A}">
      <dgm:prSet/>
      <dgm:spPr/>
      <dgm:t>
        <a:bodyPr/>
        <a:lstStyle/>
        <a:p>
          <a:pPr rtl="0"/>
          <a:r>
            <a:rPr lang="en-US" dirty="0" err="1" smtClean="0"/>
            <a:t>Siloed</a:t>
          </a:r>
          <a:r>
            <a:rPr lang="en-US" dirty="0" smtClean="0"/>
            <a:t> System Responsibilities</a:t>
          </a:r>
          <a:endParaRPr lang="en-US" dirty="0"/>
        </a:p>
      </dgm:t>
    </dgm:pt>
    <dgm:pt modelId="{BFF009EF-5318-49BB-947F-3C84BBBADF2B}" type="parTrans" cxnId="{78ADDD02-42B0-4172-BA0E-F3F1D3718031}">
      <dgm:prSet/>
      <dgm:spPr/>
      <dgm:t>
        <a:bodyPr/>
        <a:lstStyle/>
        <a:p>
          <a:endParaRPr lang="en-US"/>
        </a:p>
      </dgm:t>
    </dgm:pt>
    <dgm:pt modelId="{A00D7FDF-E567-4DB2-94FC-CDA81759A8D8}" type="sibTrans" cxnId="{78ADDD02-42B0-4172-BA0E-F3F1D3718031}">
      <dgm:prSet/>
      <dgm:spPr/>
      <dgm:t>
        <a:bodyPr/>
        <a:lstStyle/>
        <a:p>
          <a:endParaRPr lang="en-US"/>
        </a:p>
      </dgm:t>
    </dgm:pt>
    <dgm:pt modelId="{222530AD-50F7-4219-9528-58AF91146287}">
      <dgm:prSet custT="1"/>
      <dgm:spPr/>
      <dgm:t>
        <a:bodyPr/>
        <a:lstStyle/>
        <a:p>
          <a:pPr rtl="0"/>
          <a:r>
            <a:rPr lang="en-US" sz="1600" baseline="0" dirty="0" smtClean="0"/>
            <a:t>Bare metal server builds &amp; server management not performed by the same team</a:t>
          </a:r>
          <a:endParaRPr lang="en-US" sz="1600" dirty="0"/>
        </a:p>
      </dgm:t>
    </dgm:pt>
    <dgm:pt modelId="{981554A7-945B-420E-98A3-C96BE37D7D60}" type="parTrans" cxnId="{3BAFA20A-B535-4954-BF48-EDB42869BACC}">
      <dgm:prSet/>
      <dgm:spPr/>
      <dgm:t>
        <a:bodyPr/>
        <a:lstStyle/>
        <a:p>
          <a:endParaRPr lang="en-US"/>
        </a:p>
      </dgm:t>
    </dgm:pt>
    <dgm:pt modelId="{86369E9E-2AC7-4326-B652-049021058457}" type="sibTrans" cxnId="{3BAFA20A-B535-4954-BF48-EDB42869BACC}">
      <dgm:prSet/>
      <dgm:spPr/>
      <dgm:t>
        <a:bodyPr/>
        <a:lstStyle/>
        <a:p>
          <a:endParaRPr lang="en-US"/>
        </a:p>
      </dgm:t>
    </dgm:pt>
    <dgm:pt modelId="{4E8BFB47-D4F1-4E3E-994D-56FC54446E5A}">
      <dgm:prSet custT="1"/>
      <dgm:spPr/>
      <dgm:t>
        <a:bodyPr/>
        <a:lstStyle/>
        <a:p>
          <a:pPr rtl="0"/>
          <a:r>
            <a:rPr lang="en-US" sz="1600" baseline="0" dirty="0" smtClean="0"/>
            <a:t>Software deployment &amp; configuration responsibility falls on different teams depending on environment</a:t>
          </a:r>
          <a:endParaRPr lang="en-US" sz="1600" dirty="0"/>
        </a:p>
      </dgm:t>
    </dgm:pt>
    <dgm:pt modelId="{3C44075A-DBF9-45B5-B948-01014457435A}" type="parTrans" cxnId="{44C7A4CE-9AD6-43CD-87CA-7DFC03BB557B}">
      <dgm:prSet/>
      <dgm:spPr/>
      <dgm:t>
        <a:bodyPr/>
        <a:lstStyle/>
        <a:p>
          <a:endParaRPr lang="en-US"/>
        </a:p>
      </dgm:t>
    </dgm:pt>
    <dgm:pt modelId="{C5274F0E-1434-4752-ACB2-D8CFBC26EF65}" type="sibTrans" cxnId="{44C7A4CE-9AD6-43CD-87CA-7DFC03BB557B}">
      <dgm:prSet/>
      <dgm:spPr/>
      <dgm:t>
        <a:bodyPr/>
        <a:lstStyle/>
        <a:p>
          <a:endParaRPr lang="en-US"/>
        </a:p>
      </dgm:t>
    </dgm:pt>
    <dgm:pt modelId="{5D70B8BD-F711-45AC-A905-2D2C768822D0}" type="pres">
      <dgm:prSet presAssocID="{ACA09C2C-59C8-4DD6-B622-7E4ED94B98AF}" presName="Name0" presStyleCnt="0">
        <dgm:presLayoutVars>
          <dgm:dir/>
          <dgm:animLvl val="lvl"/>
          <dgm:resizeHandles val="exact"/>
        </dgm:presLayoutVars>
      </dgm:prSet>
      <dgm:spPr/>
      <dgm:t>
        <a:bodyPr/>
        <a:lstStyle/>
        <a:p>
          <a:endParaRPr lang="en-US"/>
        </a:p>
      </dgm:t>
    </dgm:pt>
    <dgm:pt modelId="{6644ED96-818F-4F11-86B3-BBBF6FFFA919}" type="pres">
      <dgm:prSet presAssocID="{631C75BE-659F-4F75-99CB-A814CA1EB306}" presName="linNode" presStyleCnt="0"/>
      <dgm:spPr/>
      <dgm:t>
        <a:bodyPr/>
        <a:lstStyle/>
        <a:p>
          <a:endParaRPr lang="en-US"/>
        </a:p>
      </dgm:t>
    </dgm:pt>
    <dgm:pt modelId="{93757EC2-9F89-417A-B948-E2E2C2952019}" type="pres">
      <dgm:prSet presAssocID="{631C75BE-659F-4F75-99CB-A814CA1EB306}" presName="parentText" presStyleLbl="node1" presStyleIdx="0" presStyleCnt="3">
        <dgm:presLayoutVars>
          <dgm:chMax val="1"/>
          <dgm:bulletEnabled val="1"/>
        </dgm:presLayoutVars>
      </dgm:prSet>
      <dgm:spPr/>
      <dgm:t>
        <a:bodyPr/>
        <a:lstStyle/>
        <a:p>
          <a:endParaRPr lang="en-US"/>
        </a:p>
      </dgm:t>
    </dgm:pt>
    <dgm:pt modelId="{8BF4358A-37A5-4E5D-A932-B2DAF7CF8BC7}" type="pres">
      <dgm:prSet presAssocID="{631C75BE-659F-4F75-99CB-A814CA1EB306}" presName="descendantText" presStyleLbl="alignAccFollowNode1" presStyleIdx="0" presStyleCnt="3">
        <dgm:presLayoutVars>
          <dgm:bulletEnabled val="1"/>
        </dgm:presLayoutVars>
      </dgm:prSet>
      <dgm:spPr/>
      <dgm:t>
        <a:bodyPr/>
        <a:lstStyle/>
        <a:p>
          <a:endParaRPr lang="en-US"/>
        </a:p>
      </dgm:t>
    </dgm:pt>
    <dgm:pt modelId="{DBCB23A8-73F2-40A1-9CA5-0F8ED820D02D}" type="pres">
      <dgm:prSet presAssocID="{B9D13B42-A714-4C55-B898-8ADAD4010DD9}" presName="sp" presStyleCnt="0"/>
      <dgm:spPr/>
      <dgm:t>
        <a:bodyPr/>
        <a:lstStyle/>
        <a:p>
          <a:endParaRPr lang="en-US"/>
        </a:p>
      </dgm:t>
    </dgm:pt>
    <dgm:pt modelId="{ED199A80-3579-47C7-BA30-B111F689A919}" type="pres">
      <dgm:prSet presAssocID="{F691230B-9C1C-48AF-8484-BD216FD797BF}" presName="linNode" presStyleCnt="0"/>
      <dgm:spPr/>
    </dgm:pt>
    <dgm:pt modelId="{C260DD02-19A7-449B-9761-2CE273D5E582}" type="pres">
      <dgm:prSet presAssocID="{F691230B-9C1C-48AF-8484-BD216FD797BF}" presName="parentText" presStyleLbl="node1" presStyleIdx="1" presStyleCnt="3">
        <dgm:presLayoutVars>
          <dgm:chMax val="1"/>
          <dgm:bulletEnabled val="1"/>
        </dgm:presLayoutVars>
      </dgm:prSet>
      <dgm:spPr/>
      <dgm:t>
        <a:bodyPr/>
        <a:lstStyle/>
        <a:p>
          <a:endParaRPr lang="en-US"/>
        </a:p>
      </dgm:t>
    </dgm:pt>
    <dgm:pt modelId="{3B26FB7C-8EE5-4A23-AF7C-E3FD631B567E}" type="pres">
      <dgm:prSet presAssocID="{F691230B-9C1C-48AF-8484-BD216FD797BF}" presName="descendantText" presStyleLbl="alignAccFollowNode1" presStyleIdx="1" presStyleCnt="3">
        <dgm:presLayoutVars>
          <dgm:bulletEnabled val="1"/>
        </dgm:presLayoutVars>
      </dgm:prSet>
      <dgm:spPr/>
      <dgm:t>
        <a:bodyPr/>
        <a:lstStyle/>
        <a:p>
          <a:endParaRPr lang="en-US"/>
        </a:p>
      </dgm:t>
    </dgm:pt>
    <dgm:pt modelId="{873ED467-7B70-473D-9392-4DFD9C5E8932}" type="pres">
      <dgm:prSet presAssocID="{C5F6A8E9-D9F2-4BB2-B047-53A99C8F20D8}" presName="sp" presStyleCnt="0"/>
      <dgm:spPr/>
    </dgm:pt>
    <dgm:pt modelId="{F56ED8AC-EBC3-4344-A56E-ECF017CFCC18}" type="pres">
      <dgm:prSet presAssocID="{A4E9EFB4-A150-454C-A846-5CC57D6D154A}" presName="linNode" presStyleCnt="0"/>
      <dgm:spPr/>
    </dgm:pt>
    <dgm:pt modelId="{0FB4881C-0A05-433A-940A-ECB6B9860FC2}" type="pres">
      <dgm:prSet presAssocID="{A4E9EFB4-A150-454C-A846-5CC57D6D154A}" presName="parentText" presStyleLbl="node1" presStyleIdx="2" presStyleCnt="3">
        <dgm:presLayoutVars>
          <dgm:chMax val="1"/>
          <dgm:bulletEnabled val="1"/>
        </dgm:presLayoutVars>
      </dgm:prSet>
      <dgm:spPr/>
      <dgm:t>
        <a:bodyPr/>
        <a:lstStyle/>
        <a:p>
          <a:endParaRPr lang="en-US"/>
        </a:p>
      </dgm:t>
    </dgm:pt>
    <dgm:pt modelId="{280CD482-2145-4ED6-A14D-D0915748AC1F}" type="pres">
      <dgm:prSet presAssocID="{A4E9EFB4-A150-454C-A846-5CC57D6D154A}" presName="descendantText" presStyleLbl="alignAccFollowNode1" presStyleIdx="2" presStyleCnt="3">
        <dgm:presLayoutVars>
          <dgm:bulletEnabled val="1"/>
        </dgm:presLayoutVars>
      </dgm:prSet>
      <dgm:spPr/>
      <dgm:t>
        <a:bodyPr/>
        <a:lstStyle/>
        <a:p>
          <a:endParaRPr lang="en-US"/>
        </a:p>
      </dgm:t>
    </dgm:pt>
  </dgm:ptLst>
  <dgm:cxnLst>
    <dgm:cxn modelId="{3BAFA20A-B535-4954-BF48-EDB42869BACC}" srcId="{A4E9EFB4-A150-454C-A846-5CC57D6D154A}" destId="{222530AD-50F7-4219-9528-58AF91146287}" srcOrd="0" destOrd="0" parTransId="{981554A7-945B-420E-98A3-C96BE37D7D60}" sibTransId="{86369E9E-2AC7-4326-B652-049021058457}"/>
    <dgm:cxn modelId="{44C7A4CE-9AD6-43CD-87CA-7DFC03BB557B}" srcId="{A4E9EFB4-A150-454C-A846-5CC57D6D154A}" destId="{4E8BFB47-D4F1-4E3E-994D-56FC54446E5A}" srcOrd="1" destOrd="0" parTransId="{3C44075A-DBF9-45B5-B948-01014457435A}" sibTransId="{C5274F0E-1434-4752-ACB2-D8CFBC26EF65}"/>
    <dgm:cxn modelId="{DA9E490C-DA66-49E2-8E73-98FAA00DE464}" srcId="{631C75BE-659F-4F75-99CB-A814CA1EB306}" destId="{8D3C2AA1-2042-4B64-831E-1089B7725C11}" srcOrd="0" destOrd="0" parTransId="{5CC541F7-776A-4DFF-BEA0-67BF33A9B674}" sibTransId="{75B91318-3172-4BE1-AFDF-2E2015211061}"/>
    <dgm:cxn modelId="{49F47615-D0DF-4383-8A7B-60AD28B4E29A}" type="presOf" srcId="{4E8BFB47-D4F1-4E3E-994D-56FC54446E5A}" destId="{280CD482-2145-4ED6-A14D-D0915748AC1F}" srcOrd="0" destOrd="1" presId="urn:microsoft.com/office/officeart/2005/8/layout/vList5"/>
    <dgm:cxn modelId="{97BD378B-828D-4A13-93F1-ABAEF93921D1}" type="presOf" srcId="{8D3C2AA1-2042-4B64-831E-1089B7725C11}" destId="{8BF4358A-37A5-4E5D-A932-B2DAF7CF8BC7}" srcOrd="0" destOrd="0" presId="urn:microsoft.com/office/officeart/2005/8/layout/vList5"/>
    <dgm:cxn modelId="{B3DB66FC-1B99-4BC6-A78E-B0DEE9D9053E}" type="presOf" srcId="{A4E9EFB4-A150-454C-A846-5CC57D6D154A}" destId="{0FB4881C-0A05-433A-940A-ECB6B9860FC2}" srcOrd="0" destOrd="0" presId="urn:microsoft.com/office/officeart/2005/8/layout/vList5"/>
    <dgm:cxn modelId="{B38AFF43-A53B-4711-A18D-989335554266}" srcId="{F691230B-9C1C-48AF-8484-BD216FD797BF}" destId="{594BF891-B46A-4142-8F76-2FA441805C27}" srcOrd="1" destOrd="0" parTransId="{1A91E1E2-7549-4947-AF89-AFBC22CC3171}" sibTransId="{938C196D-6B6C-4450-B042-B7BE92880738}"/>
    <dgm:cxn modelId="{244B2778-81DE-49D8-B0F8-D306C820BBDD}" type="presOf" srcId="{ACA09C2C-59C8-4DD6-B622-7E4ED94B98AF}" destId="{5D70B8BD-F711-45AC-A905-2D2C768822D0}" srcOrd="0" destOrd="0" presId="urn:microsoft.com/office/officeart/2005/8/layout/vList5"/>
    <dgm:cxn modelId="{BF137B22-82CA-4665-A98E-91D95DF18EF3}" type="presOf" srcId="{594BF891-B46A-4142-8F76-2FA441805C27}" destId="{3B26FB7C-8EE5-4A23-AF7C-E3FD631B567E}" srcOrd="0" destOrd="1" presId="urn:microsoft.com/office/officeart/2005/8/layout/vList5"/>
    <dgm:cxn modelId="{DBEB5D70-9895-4EFB-B812-2DE5E9DAA68B}" type="presOf" srcId="{33D36326-B2B0-497B-A7B8-E478AA7435F1}" destId="{8BF4358A-37A5-4E5D-A932-B2DAF7CF8BC7}" srcOrd="0" destOrd="1" presId="urn:microsoft.com/office/officeart/2005/8/layout/vList5"/>
    <dgm:cxn modelId="{257FD3B9-B2E4-4CA3-BA58-DDC6C9DAC200}" type="presOf" srcId="{7DC1F6C5-E372-4F67-AF3E-4D7164198B2A}" destId="{3B26FB7C-8EE5-4A23-AF7C-E3FD631B567E}" srcOrd="0" destOrd="2" presId="urn:microsoft.com/office/officeart/2005/8/layout/vList5"/>
    <dgm:cxn modelId="{78ADDD02-42B0-4172-BA0E-F3F1D3718031}" srcId="{ACA09C2C-59C8-4DD6-B622-7E4ED94B98AF}" destId="{A4E9EFB4-A150-454C-A846-5CC57D6D154A}" srcOrd="2" destOrd="0" parTransId="{BFF009EF-5318-49BB-947F-3C84BBBADF2B}" sibTransId="{A00D7FDF-E567-4DB2-94FC-CDA81759A8D8}"/>
    <dgm:cxn modelId="{1629131F-91A7-45DC-B7B1-8AE011FA76D4}" srcId="{ACA09C2C-59C8-4DD6-B622-7E4ED94B98AF}" destId="{F691230B-9C1C-48AF-8484-BD216FD797BF}" srcOrd="1" destOrd="0" parTransId="{16BC6529-A0CB-4DE3-9BB9-EA0E48231977}" sibTransId="{C5F6A8E9-D9F2-4BB2-B047-53A99C8F20D8}"/>
    <dgm:cxn modelId="{DF462BC4-83A4-4813-818C-6A9104CA32FA}" srcId="{ACA09C2C-59C8-4DD6-B622-7E4ED94B98AF}" destId="{631C75BE-659F-4F75-99CB-A814CA1EB306}" srcOrd="0" destOrd="0" parTransId="{33126CBB-A85D-41DD-83CC-19421B1F10B9}" sibTransId="{B9D13B42-A714-4C55-B898-8ADAD4010DD9}"/>
    <dgm:cxn modelId="{E4CB3519-24B5-4193-849A-B381D5FAE8D5}" srcId="{631C75BE-659F-4F75-99CB-A814CA1EB306}" destId="{33D36326-B2B0-497B-A7B8-E478AA7435F1}" srcOrd="1" destOrd="0" parTransId="{6B0D51E3-1F2F-4902-BD40-168B990678EA}" sibTransId="{DCB1108E-63A1-454A-A6D7-146DAC2CBE62}"/>
    <dgm:cxn modelId="{F608BC92-7913-47D3-9343-5A281900D787}" srcId="{F691230B-9C1C-48AF-8484-BD216FD797BF}" destId="{B2591EF8-7089-4776-8BEC-C299BD6EC300}" srcOrd="0" destOrd="0" parTransId="{81411AE4-AB2A-4FED-A0E8-609435AB3295}" sibTransId="{B2C3F57F-4D45-4399-8D23-CF3144B92ABF}"/>
    <dgm:cxn modelId="{308C4C07-5FFE-45EA-A69E-068746F116A1}" type="presOf" srcId="{F691230B-9C1C-48AF-8484-BD216FD797BF}" destId="{C260DD02-19A7-449B-9761-2CE273D5E582}" srcOrd="0" destOrd="0" presId="urn:microsoft.com/office/officeart/2005/8/layout/vList5"/>
    <dgm:cxn modelId="{5D447C6C-8CA2-4E9A-B88C-06246344A0E7}" type="presOf" srcId="{222530AD-50F7-4219-9528-58AF91146287}" destId="{280CD482-2145-4ED6-A14D-D0915748AC1F}" srcOrd="0" destOrd="0" presId="urn:microsoft.com/office/officeart/2005/8/layout/vList5"/>
    <dgm:cxn modelId="{D9799957-C417-4561-AB79-D54433C78299}" srcId="{F691230B-9C1C-48AF-8484-BD216FD797BF}" destId="{7DC1F6C5-E372-4F67-AF3E-4D7164198B2A}" srcOrd="2" destOrd="0" parTransId="{DC8A4E80-3A54-4A4C-B049-0D8647DB21DF}" sibTransId="{53680C0D-18E4-481B-AE8E-3B3D27453424}"/>
    <dgm:cxn modelId="{7A705DC2-9D10-4272-A99F-DE089C00BB1B}" type="presOf" srcId="{B2591EF8-7089-4776-8BEC-C299BD6EC300}" destId="{3B26FB7C-8EE5-4A23-AF7C-E3FD631B567E}" srcOrd="0" destOrd="0" presId="urn:microsoft.com/office/officeart/2005/8/layout/vList5"/>
    <dgm:cxn modelId="{F27890EB-2EBA-418A-BFFF-AB3A7A91A4C6}" type="presOf" srcId="{631C75BE-659F-4F75-99CB-A814CA1EB306}" destId="{93757EC2-9F89-417A-B948-E2E2C2952019}" srcOrd="0" destOrd="0" presId="urn:microsoft.com/office/officeart/2005/8/layout/vList5"/>
    <dgm:cxn modelId="{6D0FDF41-76FA-409F-B2A6-4C909FEC74EE}" type="presParOf" srcId="{5D70B8BD-F711-45AC-A905-2D2C768822D0}" destId="{6644ED96-818F-4F11-86B3-BBBF6FFFA919}" srcOrd="0" destOrd="0" presId="urn:microsoft.com/office/officeart/2005/8/layout/vList5"/>
    <dgm:cxn modelId="{4927A421-97A3-4469-918F-A7AB63EE73EA}" type="presParOf" srcId="{6644ED96-818F-4F11-86B3-BBBF6FFFA919}" destId="{93757EC2-9F89-417A-B948-E2E2C2952019}" srcOrd="0" destOrd="0" presId="urn:microsoft.com/office/officeart/2005/8/layout/vList5"/>
    <dgm:cxn modelId="{BC566206-FBEB-47BB-8F77-390E566B7310}" type="presParOf" srcId="{6644ED96-818F-4F11-86B3-BBBF6FFFA919}" destId="{8BF4358A-37A5-4E5D-A932-B2DAF7CF8BC7}" srcOrd="1" destOrd="0" presId="urn:microsoft.com/office/officeart/2005/8/layout/vList5"/>
    <dgm:cxn modelId="{27D45F37-5DDC-4253-88E9-4BD27F6AB4CB}" type="presParOf" srcId="{5D70B8BD-F711-45AC-A905-2D2C768822D0}" destId="{DBCB23A8-73F2-40A1-9CA5-0F8ED820D02D}" srcOrd="1" destOrd="0" presId="urn:microsoft.com/office/officeart/2005/8/layout/vList5"/>
    <dgm:cxn modelId="{29FC5753-A305-40B8-99B2-FC416D8E348B}" type="presParOf" srcId="{5D70B8BD-F711-45AC-A905-2D2C768822D0}" destId="{ED199A80-3579-47C7-BA30-B111F689A919}" srcOrd="2" destOrd="0" presId="urn:microsoft.com/office/officeart/2005/8/layout/vList5"/>
    <dgm:cxn modelId="{2B3F9DF3-1D4D-4E5D-BBA6-2236A9FEFCE0}" type="presParOf" srcId="{ED199A80-3579-47C7-BA30-B111F689A919}" destId="{C260DD02-19A7-449B-9761-2CE273D5E582}" srcOrd="0" destOrd="0" presId="urn:microsoft.com/office/officeart/2005/8/layout/vList5"/>
    <dgm:cxn modelId="{9D590442-ABBB-4B03-A2C1-20A36590FEB0}" type="presParOf" srcId="{ED199A80-3579-47C7-BA30-B111F689A919}" destId="{3B26FB7C-8EE5-4A23-AF7C-E3FD631B567E}" srcOrd="1" destOrd="0" presId="urn:microsoft.com/office/officeart/2005/8/layout/vList5"/>
    <dgm:cxn modelId="{B2E20CE6-663C-4071-AE34-8C62CCD0D0BF}" type="presParOf" srcId="{5D70B8BD-F711-45AC-A905-2D2C768822D0}" destId="{873ED467-7B70-473D-9392-4DFD9C5E8932}" srcOrd="3" destOrd="0" presId="urn:microsoft.com/office/officeart/2005/8/layout/vList5"/>
    <dgm:cxn modelId="{E46073E6-E0A4-456B-9C2B-B9FEB04D8236}" type="presParOf" srcId="{5D70B8BD-F711-45AC-A905-2D2C768822D0}" destId="{F56ED8AC-EBC3-4344-A56E-ECF017CFCC18}" srcOrd="4" destOrd="0" presId="urn:microsoft.com/office/officeart/2005/8/layout/vList5"/>
    <dgm:cxn modelId="{ABB84299-EA7E-4F06-9C9E-103CBF469ACC}" type="presParOf" srcId="{F56ED8AC-EBC3-4344-A56E-ECF017CFCC18}" destId="{0FB4881C-0A05-433A-940A-ECB6B9860FC2}" srcOrd="0" destOrd="0" presId="urn:microsoft.com/office/officeart/2005/8/layout/vList5"/>
    <dgm:cxn modelId="{38AF6293-B20F-46AA-9CD6-D5562260A1CE}" type="presParOf" srcId="{F56ED8AC-EBC3-4344-A56E-ECF017CFCC18}" destId="{280CD482-2145-4ED6-A14D-D0915748AC1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C79EB2-CC09-4D57-A53C-4A1F390BC352}"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8A1CEB5-CF09-400E-A185-9779AA643BFA}">
      <dgm:prSet/>
      <dgm:spPr/>
      <dgm:t>
        <a:bodyPr/>
        <a:lstStyle/>
        <a:p>
          <a:pPr rtl="0"/>
          <a:r>
            <a:rPr lang="en-US" dirty="0" smtClean="0"/>
            <a:t>Test Environment Deployments</a:t>
          </a:r>
          <a:endParaRPr lang="en-US" dirty="0"/>
        </a:p>
      </dgm:t>
    </dgm:pt>
    <dgm:pt modelId="{7C69FBDD-1C81-4AFA-BC37-ACD4FA9673DD}" type="parTrans" cxnId="{0FB6F8A1-A10F-4832-8292-4D816AD2CFA1}">
      <dgm:prSet/>
      <dgm:spPr/>
      <dgm:t>
        <a:bodyPr/>
        <a:lstStyle/>
        <a:p>
          <a:endParaRPr lang="en-US"/>
        </a:p>
      </dgm:t>
    </dgm:pt>
    <dgm:pt modelId="{9B613311-CF3F-4854-8B0A-B795968097EC}" type="sibTrans" cxnId="{0FB6F8A1-A10F-4832-8292-4D816AD2CFA1}">
      <dgm:prSet/>
      <dgm:spPr/>
      <dgm:t>
        <a:bodyPr/>
        <a:lstStyle/>
        <a:p>
          <a:endParaRPr lang="en-US"/>
        </a:p>
      </dgm:t>
    </dgm:pt>
    <dgm:pt modelId="{EB54BD5A-257D-49E8-8604-B2C4CA245140}">
      <dgm:prSet custT="1"/>
      <dgm:spPr/>
      <dgm:t>
        <a:bodyPr/>
        <a:lstStyle/>
        <a:p>
          <a:pPr rtl="0"/>
          <a:r>
            <a:rPr lang="en-US" sz="2000" baseline="0" dirty="0" smtClean="0"/>
            <a:t>Simple solution to deploy or update servers based on their server type</a:t>
          </a:r>
          <a:endParaRPr lang="en-US" sz="2000" dirty="0"/>
        </a:p>
      </dgm:t>
    </dgm:pt>
    <dgm:pt modelId="{10DF2269-1B01-4111-92CA-78BE27CB724E}" type="parTrans" cxnId="{C1627C45-8EA2-4D64-BC7F-90921ED95F97}">
      <dgm:prSet/>
      <dgm:spPr/>
      <dgm:t>
        <a:bodyPr/>
        <a:lstStyle/>
        <a:p>
          <a:endParaRPr lang="en-US"/>
        </a:p>
      </dgm:t>
    </dgm:pt>
    <dgm:pt modelId="{B01969D3-E7BE-4530-B83E-52426E14A3AF}" type="sibTrans" cxnId="{C1627C45-8EA2-4D64-BC7F-90921ED95F97}">
      <dgm:prSet/>
      <dgm:spPr/>
      <dgm:t>
        <a:bodyPr/>
        <a:lstStyle/>
        <a:p>
          <a:endParaRPr lang="en-US"/>
        </a:p>
      </dgm:t>
    </dgm:pt>
    <dgm:pt modelId="{3C0FCF0B-D33C-49AC-9405-2F85E0ACB7FE}">
      <dgm:prSet custT="1"/>
      <dgm:spPr/>
      <dgm:t>
        <a:bodyPr/>
        <a:lstStyle/>
        <a:p>
          <a:pPr rtl="0"/>
          <a:r>
            <a:rPr lang="en-US" sz="2000" baseline="0" dirty="0" smtClean="0"/>
            <a:t>Aligned daily update time</a:t>
          </a:r>
          <a:endParaRPr lang="en-US" sz="2000" dirty="0"/>
        </a:p>
      </dgm:t>
    </dgm:pt>
    <dgm:pt modelId="{AC1B3370-34C0-4D7C-873D-A9F68D40D2AD}" type="parTrans" cxnId="{4038325A-0A05-4269-92B9-A65149BBF38F}">
      <dgm:prSet/>
      <dgm:spPr/>
      <dgm:t>
        <a:bodyPr/>
        <a:lstStyle/>
        <a:p>
          <a:endParaRPr lang="en-US"/>
        </a:p>
      </dgm:t>
    </dgm:pt>
    <dgm:pt modelId="{2D388945-01CA-4EC3-8AD2-1A22FDFB7ADA}" type="sibTrans" cxnId="{4038325A-0A05-4269-92B9-A65149BBF38F}">
      <dgm:prSet/>
      <dgm:spPr/>
      <dgm:t>
        <a:bodyPr/>
        <a:lstStyle/>
        <a:p>
          <a:endParaRPr lang="en-US"/>
        </a:p>
      </dgm:t>
    </dgm:pt>
    <dgm:pt modelId="{3222F2F3-D07A-4DEB-A3A3-E7EBFFDE5021}">
      <dgm:prSet/>
      <dgm:spPr/>
      <dgm:t>
        <a:bodyPr/>
        <a:lstStyle/>
        <a:p>
          <a:pPr rtl="0"/>
          <a:r>
            <a:rPr lang="en-US" smtClean="0"/>
            <a:t>Alignment of Environments</a:t>
          </a:r>
          <a:endParaRPr lang="en-US"/>
        </a:p>
      </dgm:t>
    </dgm:pt>
    <dgm:pt modelId="{7DCD025B-8177-4959-A1A2-EE9EFB8B1493}" type="parTrans" cxnId="{FBB8C5F2-1C90-4AEF-A647-D4F1C09AD7F7}">
      <dgm:prSet/>
      <dgm:spPr/>
      <dgm:t>
        <a:bodyPr/>
        <a:lstStyle/>
        <a:p>
          <a:endParaRPr lang="en-US"/>
        </a:p>
      </dgm:t>
    </dgm:pt>
    <dgm:pt modelId="{F72D4A64-87F5-42F4-8878-716F5B7BC756}" type="sibTrans" cxnId="{FBB8C5F2-1C90-4AEF-A647-D4F1C09AD7F7}">
      <dgm:prSet/>
      <dgm:spPr/>
      <dgm:t>
        <a:bodyPr/>
        <a:lstStyle/>
        <a:p>
          <a:endParaRPr lang="en-US"/>
        </a:p>
      </dgm:t>
    </dgm:pt>
    <dgm:pt modelId="{CEFB6A06-E0CA-4F0F-BA8A-032E5E4AB445}">
      <dgm:prSet custT="1"/>
      <dgm:spPr/>
      <dgm:t>
        <a:bodyPr/>
        <a:lstStyle/>
        <a:p>
          <a:pPr rtl="0"/>
          <a:r>
            <a:rPr lang="en-US" sz="2000" baseline="0" dirty="0" smtClean="0"/>
            <a:t>Decommissioned unused servers</a:t>
          </a:r>
          <a:endParaRPr lang="en-US" sz="2000" dirty="0"/>
        </a:p>
      </dgm:t>
    </dgm:pt>
    <dgm:pt modelId="{E0932164-12E7-4BAB-A37F-FDDEC8235ED5}" type="parTrans" cxnId="{FC8BF4F6-8F1B-4113-A6E3-74299577F4DC}">
      <dgm:prSet/>
      <dgm:spPr/>
      <dgm:t>
        <a:bodyPr/>
        <a:lstStyle/>
        <a:p>
          <a:endParaRPr lang="en-US"/>
        </a:p>
      </dgm:t>
    </dgm:pt>
    <dgm:pt modelId="{5F63CD91-605D-4584-89D8-22453160284A}" type="sibTrans" cxnId="{FC8BF4F6-8F1B-4113-A6E3-74299577F4DC}">
      <dgm:prSet/>
      <dgm:spPr/>
      <dgm:t>
        <a:bodyPr/>
        <a:lstStyle/>
        <a:p>
          <a:endParaRPr lang="en-US"/>
        </a:p>
      </dgm:t>
    </dgm:pt>
    <dgm:pt modelId="{6385228D-EAE3-448D-9C05-F8A915A7D69E}">
      <dgm:prSet custT="1"/>
      <dgm:spPr/>
      <dgm:t>
        <a:bodyPr/>
        <a:lstStyle/>
        <a:p>
          <a:pPr rtl="0"/>
          <a:r>
            <a:rPr lang="en-US" sz="2000" baseline="0" smtClean="0"/>
            <a:t>Rebuilt where needed</a:t>
          </a:r>
          <a:endParaRPr lang="en-US" sz="2000"/>
        </a:p>
      </dgm:t>
    </dgm:pt>
    <dgm:pt modelId="{DCBF380F-CEA1-45A5-B1F2-A646B2CA9388}" type="parTrans" cxnId="{548AD156-0E04-4EC5-84A3-34077CDE5E43}">
      <dgm:prSet/>
      <dgm:spPr/>
      <dgm:t>
        <a:bodyPr/>
        <a:lstStyle/>
        <a:p>
          <a:endParaRPr lang="en-US"/>
        </a:p>
      </dgm:t>
    </dgm:pt>
    <dgm:pt modelId="{4F5A74E2-EB9E-4AD2-8994-1619E8E2AC9C}" type="sibTrans" cxnId="{548AD156-0E04-4EC5-84A3-34077CDE5E43}">
      <dgm:prSet/>
      <dgm:spPr/>
      <dgm:t>
        <a:bodyPr/>
        <a:lstStyle/>
        <a:p>
          <a:endParaRPr lang="en-US"/>
        </a:p>
      </dgm:t>
    </dgm:pt>
    <dgm:pt modelId="{A3E569DC-22E5-4F5A-B59B-6528F494A18A}">
      <dgm:prSet custT="1"/>
      <dgm:spPr/>
      <dgm:t>
        <a:bodyPr/>
        <a:lstStyle/>
        <a:p>
          <a:pPr rtl="0"/>
          <a:r>
            <a:rPr lang="en-US" sz="2000" baseline="0" dirty="0" smtClean="0"/>
            <a:t>Increased server count where lacking</a:t>
          </a:r>
          <a:endParaRPr lang="en-US" sz="2000" dirty="0"/>
        </a:p>
      </dgm:t>
    </dgm:pt>
    <dgm:pt modelId="{9EF61063-59F2-4AAD-96C8-284904532F09}" type="parTrans" cxnId="{BB893931-4267-429F-A2FC-76A87612B427}">
      <dgm:prSet/>
      <dgm:spPr/>
      <dgm:t>
        <a:bodyPr/>
        <a:lstStyle/>
        <a:p>
          <a:endParaRPr lang="en-US"/>
        </a:p>
      </dgm:t>
    </dgm:pt>
    <dgm:pt modelId="{5725232C-EF6A-44ED-8ACD-44FEC3FDA9E1}" type="sibTrans" cxnId="{BB893931-4267-429F-A2FC-76A87612B427}">
      <dgm:prSet/>
      <dgm:spPr/>
      <dgm:t>
        <a:bodyPr/>
        <a:lstStyle/>
        <a:p>
          <a:endParaRPr lang="en-US"/>
        </a:p>
      </dgm:t>
    </dgm:pt>
    <dgm:pt modelId="{8E631BB0-CA1E-4765-9B02-3FEB6BE2A2FB}">
      <dgm:prSet/>
      <dgm:spPr/>
      <dgm:t>
        <a:bodyPr/>
        <a:lstStyle/>
        <a:p>
          <a:pPr rtl="0"/>
          <a:r>
            <a:rPr lang="en-US" smtClean="0"/>
            <a:t>Test Environment Platform Availability</a:t>
          </a:r>
          <a:endParaRPr lang="en-US"/>
        </a:p>
      </dgm:t>
    </dgm:pt>
    <dgm:pt modelId="{0F4090FF-6CA3-435D-B240-E6B19D0DB7A8}" type="parTrans" cxnId="{15F29FD0-344F-44C2-91D9-F05A0631FF07}">
      <dgm:prSet/>
      <dgm:spPr/>
      <dgm:t>
        <a:bodyPr/>
        <a:lstStyle/>
        <a:p>
          <a:endParaRPr lang="en-US"/>
        </a:p>
      </dgm:t>
    </dgm:pt>
    <dgm:pt modelId="{4030CC20-E0AA-4495-B6DC-F6FD38FCBADE}" type="sibTrans" cxnId="{15F29FD0-344F-44C2-91D9-F05A0631FF07}">
      <dgm:prSet/>
      <dgm:spPr/>
      <dgm:t>
        <a:bodyPr/>
        <a:lstStyle/>
        <a:p>
          <a:endParaRPr lang="en-US"/>
        </a:p>
      </dgm:t>
    </dgm:pt>
    <dgm:pt modelId="{941EED6B-504A-41EE-8D0F-89ABB21B2B33}">
      <dgm:prSet custT="1"/>
      <dgm:spPr/>
      <dgm:t>
        <a:bodyPr/>
        <a:lstStyle/>
        <a:p>
          <a:pPr rtl="0"/>
          <a:r>
            <a:rPr lang="en-US" sz="2000" baseline="0" dirty="0" smtClean="0"/>
            <a:t>Reduce down time due to non software related issues</a:t>
          </a:r>
          <a:endParaRPr lang="en-US" sz="2000" dirty="0"/>
        </a:p>
      </dgm:t>
    </dgm:pt>
    <dgm:pt modelId="{69105A09-BCF8-44AA-93A5-A6CAD4848B1A}" type="parTrans" cxnId="{1415ED9E-695F-488D-BE01-4524384B4AC7}">
      <dgm:prSet/>
      <dgm:spPr/>
      <dgm:t>
        <a:bodyPr/>
        <a:lstStyle/>
        <a:p>
          <a:endParaRPr lang="en-US"/>
        </a:p>
      </dgm:t>
    </dgm:pt>
    <dgm:pt modelId="{CE9BDDF0-7417-4FF3-B08F-996024CF6F77}" type="sibTrans" cxnId="{1415ED9E-695F-488D-BE01-4524384B4AC7}">
      <dgm:prSet/>
      <dgm:spPr/>
      <dgm:t>
        <a:bodyPr/>
        <a:lstStyle/>
        <a:p>
          <a:endParaRPr lang="en-US"/>
        </a:p>
      </dgm:t>
    </dgm:pt>
    <dgm:pt modelId="{99AEC4A9-5088-4405-B223-1111DD871E8B}" type="pres">
      <dgm:prSet presAssocID="{77C79EB2-CC09-4D57-A53C-4A1F390BC352}" presName="Name0" presStyleCnt="0">
        <dgm:presLayoutVars>
          <dgm:dir/>
          <dgm:animLvl val="lvl"/>
          <dgm:resizeHandles val="exact"/>
        </dgm:presLayoutVars>
      </dgm:prSet>
      <dgm:spPr/>
      <dgm:t>
        <a:bodyPr/>
        <a:lstStyle/>
        <a:p>
          <a:endParaRPr lang="en-US"/>
        </a:p>
      </dgm:t>
    </dgm:pt>
    <dgm:pt modelId="{2E3BE135-3122-48A9-98DE-CBE8B513FF33}" type="pres">
      <dgm:prSet presAssocID="{D8A1CEB5-CF09-400E-A185-9779AA643BFA}" presName="linNode" presStyleCnt="0"/>
      <dgm:spPr/>
      <dgm:t>
        <a:bodyPr/>
        <a:lstStyle/>
        <a:p>
          <a:endParaRPr lang="en-US"/>
        </a:p>
      </dgm:t>
    </dgm:pt>
    <dgm:pt modelId="{3FE98487-2EFF-4FE2-ADF0-04A5B35E7FE1}" type="pres">
      <dgm:prSet presAssocID="{D8A1CEB5-CF09-400E-A185-9779AA643BFA}" presName="parentText" presStyleLbl="node1" presStyleIdx="0" presStyleCnt="3">
        <dgm:presLayoutVars>
          <dgm:chMax val="1"/>
          <dgm:bulletEnabled val="1"/>
        </dgm:presLayoutVars>
      </dgm:prSet>
      <dgm:spPr/>
      <dgm:t>
        <a:bodyPr/>
        <a:lstStyle/>
        <a:p>
          <a:endParaRPr lang="en-US"/>
        </a:p>
      </dgm:t>
    </dgm:pt>
    <dgm:pt modelId="{9ADE108A-9DBA-4185-A706-DFE4A468F337}" type="pres">
      <dgm:prSet presAssocID="{D8A1CEB5-CF09-400E-A185-9779AA643BFA}" presName="descendantText" presStyleLbl="alignAccFollowNode1" presStyleIdx="0" presStyleCnt="3">
        <dgm:presLayoutVars>
          <dgm:bulletEnabled val="1"/>
        </dgm:presLayoutVars>
      </dgm:prSet>
      <dgm:spPr/>
      <dgm:t>
        <a:bodyPr/>
        <a:lstStyle/>
        <a:p>
          <a:endParaRPr lang="en-US"/>
        </a:p>
      </dgm:t>
    </dgm:pt>
    <dgm:pt modelId="{3431F434-AD4E-4CC1-9056-14F3F803C072}" type="pres">
      <dgm:prSet presAssocID="{9B613311-CF3F-4854-8B0A-B795968097EC}" presName="sp" presStyleCnt="0"/>
      <dgm:spPr/>
      <dgm:t>
        <a:bodyPr/>
        <a:lstStyle/>
        <a:p>
          <a:endParaRPr lang="en-US"/>
        </a:p>
      </dgm:t>
    </dgm:pt>
    <dgm:pt modelId="{03EACB38-E4FB-4EB1-BBCA-C712E63B04C9}" type="pres">
      <dgm:prSet presAssocID="{3222F2F3-D07A-4DEB-A3A3-E7EBFFDE5021}" presName="linNode" presStyleCnt="0"/>
      <dgm:spPr/>
      <dgm:t>
        <a:bodyPr/>
        <a:lstStyle/>
        <a:p>
          <a:endParaRPr lang="en-US"/>
        </a:p>
      </dgm:t>
    </dgm:pt>
    <dgm:pt modelId="{ED1FBB59-ADD9-4758-A197-4221EA485C10}" type="pres">
      <dgm:prSet presAssocID="{3222F2F3-D07A-4DEB-A3A3-E7EBFFDE5021}" presName="parentText" presStyleLbl="node1" presStyleIdx="1" presStyleCnt="3">
        <dgm:presLayoutVars>
          <dgm:chMax val="1"/>
          <dgm:bulletEnabled val="1"/>
        </dgm:presLayoutVars>
      </dgm:prSet>
      <dgm:spPr/>
      <dgm:t>
        <a:bodyPr/>
        <a:lstStyle/>
        <a:p>
          <a:endParaRPr lang="en-US"/>
        </a:p>
      </dgm:t>
    </dgm:pt>
    <dgm:pt modelId="{3F647247-99C6-4A93-9E67-4BC913DBF43A}" type="pres">
      <dgm:prSet presAssocID="{3222F2F3-D07A-4DEB-A3A3-E7EBFFDE5021}" presName="descendantText" presStyleLbl="alignAccFollowNode1" presStyleIdx="1" presStyleCnt="3">
        <dgm:presLayoutVars>
          <dgm:bulletEnabled val="1"/>
        </dgm:presLayoutVars>
      </dgm:prSet>
      <dgm:spPr/>
      <dgm:t>
        <a:bodyPr/>
        <a:lstStyle/>
        <a:p>
          <a:endParaRPr lang="en-US"/>
        </a:p>
      </dgm:t>
    </dgm:pt>
    <dgm:pt modelId="{D2B82666-D5B5-4EE6-B539-018CB386E68C}" type="pres">
      <dgm:prSet presAssocID="{F72D4A64-87F5-42F4-8878-716F5B7BC756}" presName="sp" presStyleCnt="0"/>
      <dgm:spPr/>
      <dgm:t>
        <a:bodyPr/>
        <a:lstStyle/>
        <a:p>
          <a:endParaRPr lang="en-US"/>
        </a:p>
      </dgm:t>
    </dgm:pt>
    <dgm:pt modelId="{8822EDFF-5C42-4D0D-97A2-A75868EBCDE5}" type="pres">
      <dgm:prSet presAssocID="{8E631BB0-CA1E-4765-9B02-3FEB6BE2A2FB}" presName="linNode" presStyleCnt="0"/>
      <dgm:spPr/>
      <dgm:t>
        <a:bodyPr/>
        <a:lstStyle/>
        <a:p>
          <a:endParaRPr lang="en-US"/>
        </a:p>
      </dgm:t>
    </dgm:pt>
    <dgm:pt modelId="{5606356B-32C5-4D76-A9EA-6F7D06AF3B80}" type="pres">
      <dgm:prSet presAssocID="{8E631BB0-CA1E-4765-9B02-3FEB6BE2A2FB}" presName="parentText" presStyleLbl="node1" presStyleIdx="2" presStyleCnt="3">
        <dgm:presLayoutVars>
          <dgm:chMax val="1"/>
          <dgm:bulletEnabled val="1"/>
        </dgm:presLayoutVars>
      </dgm:prSet>
      <dgm:spPr/>
      <dgm:t>
        <a:bodyPr/>
        <a:lstStyle/>
        <a:p>
          <a:endParaRPr lang="en-US"/>
        </a:p>
      </dgm:t>
    </dgm:pt>
    <dgm:pt modelId="{2A674569-038A-4E6D-874F-04F2BB79AA3F}" type="pres">
      <dgm:prSet presAssocID="{8E631BB0-CA1E-4765-9B02-3FEB6BE2A2FB}" presName="descendantText" presStyleLbl="alignAccFollowNode1" presStyleIdx="2" presStyleCnt="3">
        <dgm:presLayoutVars>
          <dgm:bulletEnabled val="1"/>
        </dgm:presLayoutVars>
      </dgm:prSet>
      <dgm:spPr/>
      <dgm:t>
        <a:bodyPr/>
        <a:lstStyle/>
        <a:p>
          <a:endParaRPr lang="en-US"/>
        </a:p>
      </dgm:t>
    </dgm:pt>
  </dgm:ptLst>
  <dgm:cxnLst>
    <dgm:cxn modelId="{B66D0EA8-5330-456C-8202-3882B9DEAF33}" type="presOf" srcId="{3C0FCF0B-D33C-49AC-9405-2F85E0ACB7FE}" destId="{9ADE108A-9DBA-4185-A706-DFE4A468F337}" srcOrd="0" destOrd="1" presId="urn:microsoft.com/office/officeart/2005/8/layout/vList5"/>
    <dgm:cxn modelId="{2042BDF3-DFE2-458D-A68A-10D08E792C0C}" type="presOf" srcId="{EB54BD5A-257D-49E8-8604-B2C4CA245140}" destId="{9ADE108A-9DBA-4185-A706-DFE4A468F337}" srcOrd="0" destOrd="0" presId="urn:microsoft.com/office/officeart/2005/8/layout/vList5"/>
    <dgm:cxn modelId="{376168AD-FE4F-4059-B1B1-EE367FC54F13}" type="presOf" srcId="{6385228D-EAE3-448D-9C05-F8A915A7D69E}" destId="{3F647247-99C6-4A93-9E67-4BC913DBF43A}" srcOrd="0" destOrd="1" presId="urn:microsoft.com/office/officeart/2005/8/layout/vList5"/>
    <dgm:cxn modelId="{C1627C45-8EA2-4D64-BC7F-90921ED95F97}" srcId="{D8A1CEB5-CF09-400E-A185-9779AA643BFA}" destId="{EB54BD5A-257D-49E8-8604-B2C4CA245140}" srcOrd="0" destOrd="0" parTransId="{10DF2269-1B01-4111-92CA-78BE27CB724E}" sibTransId="{B01969D3-E7BE-4530-B83E-52426E14A3AF}"/>
    <dgm:cxn modelId="{B54A03E9-90D5-410F-9497-3E63E10C0457}" type="presOf" srcId="{CEFB6A06-E0CA-4F0F-BA8A-032E5E4AB445}" destId="{3F647247-99C6-4A93-9E67-4BC913DBF43A}" srcOrd="0" destOrd="0" presId="urn:microsoft.com/office/officeart/2005/8/layout/vList5"/>
    <dgm:cxn modelId="{FF43F4CE-CCA5-4389-BB6D-49B09A54E1C1}" type="presOf" srcId="{8E631BB0-CA1E-4765-9B02-3FEB6BE2A2FB}" destId="{5606356B-32C5-4D76-A9EA-6F7D06AF3B80}" srcOrd="0" destOrd="0" presId="urn:microsoft.com/office/officeart/2005/8/layout/vList5"/>
    <dgm:cxn modelId="{B94322B6-48F9-4A28-8BC8-160818E214E0}" type="presOf" srcId="{77C79EB2-CC09-4D57-A53C-4A1F390BC352}" destId="{99AEC4A9-5088-4405-B223-1111DD871E8B}" srcOrd="0" destOrd="0" presId="urn:microsoft.com/office/officeart/2005/8/layout/vList5"/>
    <dgm:cxn modelId="{FC8BF4F6-8F1B-4113-A6E3-74299577F4DC}" srcId="{3222F2F3-D07A-4DEB-A3A3-E7EBFFDE5021}" destId="{CEFB6A06-E0CA-4F0F-BA8A-032E5E4AB445}" srcOrd="0" destOrd="0" parTransId="{E0932164-12E7-4BAB-A37F-FDDEC8235ED5}" sibTransId="{5F63CD91-605D-4584-89D8-22453160284A}"/>
    <dgm:cxn modelId="{4038325A-0A05-4269-92B9-A65149BBF38F}" srcId="{D8A1CEB5-CF09-400E-A185-9779AA643BFA}" destId="{3C0FCF0B-D33C-49AC-9405-2F85E0ACB7FE}" srcOrd="1" destOrd="0" parTransId="{AC1B3370-34C0-4D7C-873D-A9F68D40D2AD}" sibTransId="{2D388945-01CA-4EC3-8AD2-1A22FDFB7ADA}"/>
    <dgm:cxn modelId="{BB893931-4267-429F-A2FC-76A87612B427}" srcId="{3222F2F3-D07A-4DEB-A3A3-E7EBFFDE5021}" destId="{A3E569DC-22E5-4F5A-B59B-6528F494A18A}" srcOrd="2" destOrd="0" parTransId="{9EF61063-59F2-4AAD-96C8-284904532F09}" sibTransId="{5725232C-EF6A-44ED-8ACD-44FEC3FDA9E1}"/>
    <dgm:cxn modelId="{A4A038B1-7AAE-4311-9918-23FBA0723BB3}" type="presOf" srcId="{3222F2F3-D07A-4DEB-A3A3-E7EBFFDE5021}" destId="{ED1FBB59-ADD9-4758-A197-4221EA485C10}" srcOrd="0" destOrd="0" presId="urn:microsoft.com/office/officeart/2005/8/layout/vList5"/>
    <dgm:cxn modelId="{548AD156-0E04-4EC5-84A3-34077CDE5E43}" srcId="{3222F2F3-D07A-4DEB-A3A3-E7EBFFDE5021}" destId="{6385228D-EAE3-448D-9C05-F8A915A7D69E}" srcOrd="1" destOrd="0" parTransId="{DCBF380F-CEA1-45A5-B1F2-A646B2CA9388}" sibTransId="{4F5A74E2-EB9E-4AD2-8994-1619E8E2AC9C}"/>
    <dgm:cxn modelId="{1415ED9E-695F-488D-BE01-4524384B4AC7}" srcId="{8E631BB0-CA1E-4765-9B02-3FEB6BE2A2FB}" destId="{941EED6B-504A-41EE-8D0F-89ABB21B2B33}" srcOrd="0" destOrd="0" parTransId="{69105A09-BCF8-44AA-93A5-A6CAD4848B1A}" sibTransId="{CE9BDDF0-7417-4FF3-B08F-996024CF6F77}"/>
    <dgm:cxn modelId="{04D1F606-A339-4352-9B2C-C23C3285267A}" type="presOf" srcId="{D8A1CEB5-CF09-400E-A185-9779AA643BFA}" destId="{3FE98487-2EFF-4FE2-ADF0-04A5B35E7FE1}" srcOrd="0" destOrd="0" presId="urn:microsoft.com/office/officeart/2005/8/layout/vList5"/>
    <dgm:cxn modelId="{0FB6F8A1-A10F-4832-8292-4D816AD2CFA1}" srcId="{77C79EB2-CC09-4D57-A53C-4A1F390BC352}" destId="{D8A1CEB5-CF09-400E-A185-9779AA643BFA}" srcOrd="0" destOrd="0" parTransId="{7C69FBDD-1C81-4AFA-BC37-ACD4FA9673DD}" sibTransId="{9B613311-CF3F-4854-8B0A-B795968097EC}"/>
    <dgm:cxn modelId="{02EEEB19-894C-4D5D-83B7-C58633A51FBE}" type="presOf" srcId="{A3E569DC-22E5-4F5A-B59B-6528F494A18A}" destId="{3F647247-99C6-4A93-9E67-4BC913DBF43A}" srcOrd="0" destOrd="2" presId="urn:microsoft.com/office/officeart/2005/8/layout/vList5"/>
    <dgm:cxn modelId="{FBB8C5F2-1C90-4AEF-A647-D4F1C09AD7F7}" srcId="{77C79EB2-CC09-4D57-A53C-4A1F390BC352}" destId="{3222F2F3-D07A-4DEB-A3A3-E7EBFFDE5021}" srcOrd="1" destOrd="0" parTransId="{7DCD025B-8177-4959-A1A2-EE9EFB8B1493}" sibTransId="{F72D4A64-87F5-42F4-8878-716F5B7BC756}"/>
    <dgm:cxn modelId="{15F29FD0-344F-44C2-91D9-F05A0631FF07}" srcId="{77C79EB2-CC09-4D57-A53C-4A1F390BC352}" destId="{8E631BB0-CA1E-4765-9B02-3FEB6BE2A2FB}" srcOrd="2" destOrd="0" parTransId="{0F4090FF-6CA3-435D-B240-E6B19D0DB7A8}" sibTransId="{4030CC20-E0AA-4495-B6DC-F6FD38FCBADE}"/>
    <dgm:cxn modelId="{869159BF-826B-4E40-9B07-E4FAD9C1E26C}" type="presOf" srcId="{941EED6B-504A-41EE-8D0F-89ABB21B2B33}" destId="{2A674569-038A-4E6D-874F-04F2BB79AA3F}" srcOrd="0" destOrd="0" presId="urn:microsoft.com/office/officeart/2005/8/layout/vList5"/>
    <dgm:cxn modelId="{0207B89E-AE86-45C7-B21D-8D7E0BE1A22B}" type="presParOf" srcId="{99AEC4A9-5088-4405-B223-1111DD871E8B}" destId="{2E3BE135-3122-48A9-98DE-CBE8B513FF33}" srcOrd="0" destOrd="0" presId="urn:microsoft.com/office/officeart/2005/8/layout/vList5"/>
    <dgm:cxn modelId="{E54E6F8D-A046-468A-AB91-DD6F95708FCA}" type="presParOf" srcId="{2E3BE135-3122-48A9-98DE-CBE8B513FF33}" destId="{3FE98487-2EFF-4FE2-ADF0-04A5B35E7FE1}" srcOrd="0" destOrd="0" presId="urn:microsoft.com/office/officeart/2005/8/layout/vList5"/>
    <dgm:cxn modelId="{A6E05CCE-71BC-4C9E-B042-7B92A089A319}" type="presParOf" srcId="{2E3BE135-3122-48A9-98DE-CBE8B513FF33}" destId="{9ADE108A-9DBA-4185-A706-DFE4A468F337}" srcOrd="1" destOrd="0" presId="urn:microsoft.com/office/officeart/2005/8/layout/vList5"/>
    <dgm:cxn modelId="{E82A1328-2539-4414-9785-8E224DE5FB25}" type="presParOf" srcId="{99AEC4A9-5088-4405-B223-1111DD871E8B}" destId="{3431F434-AD4E-4CC1-9056-14F3F803C072}" srcOrd="1" destOrd="0" presId="urn:microsoft.com/office/officeart/2005/8/layout/vList5"/>
    <dgm:cxn modelId="{FC6C7E3B-7195-4891-9397-920D36F940F5}" type="presParOf" srcId="{99AEC4A9-5088-4405-B223-1111DD871E8B}" destId="{03EACB38-E4FB-4EB1-BBCA-C712E63B04C9}" srcOrd="2" destOrd="0" presId="urn:microsoft.com/office/officeart/2005/8/layout/vList5"/>
    <dgm:cxn modelId="{79D12416-E1FB-4B7D-B87E-D6E994A0FFF1}" type="presParOf" srcId="{03EACB38-E4FB-4EB1-BBCA-C712E63B04C9}" destId="{ED1FBB59-ADD9-4758-A197-4221EA485C10}" srcOrd="0" destOrd="0" presId="urn:microsoft.com/office/officeart/2005/8/layout/vList5"/>
    <dgm:cxn modelId="{B9802468-DD13-43BD-85B9-2048BE98A39D}" type="presParOf" srcId="{03EACB38-E4FB-4EB1-BBCA-C712E63B04C9}" destId="{3F647247-99C6-4A93-9E67-4BC913DBF43A}" srcOrd="1" destOrd="0" presId="urn:microsoft.com/office/officeart/2005/8/layout/vList5"/>
    <dgm:cxn modelId="{5DC34DBA-B228-44A3-A1E6-7B5C5D2CD32A}" type="presParOf" srcId="{99AEC4A9-5088-4405-B223-1111DD871E8B}" destId="{D2B82666-D5B5-4EE6-B539-018CB386E68C}" srcOrd="3" destOrd="0" presId="urn:microsoft.com/office/officeart/2005/8/layout/vList5"/>
    <dgm:cxn modelId="{8B7C5389-2E94-4292-B4F0-CF5DC28A58FA}" type="presParOf" srcId="{99AEC4A9-5088-4405-B223-1111DD871E8B}" destId="{8822EDFF-5C42-4D0D-97A2-A75868EBCDE5}" srcOrd="4" destOrd="0" presId="urn:microsoft.com/office/officeart/2005/8/layout/vList5"/>
    <dgm:cxn modelId="{E448C26B-C8AF-4B4F-991D-4C0E2394427D}" type="presParOf" srcId="{8822EDFF-5C42-4D0D-97A2-A75868EBCDE5}" destId="{5606356B-32C5-4D76-A9EA-6F7D06AF3B80}" srcOrd="0" destOrd="0" presId="urn:microsoft.com/office/officeart/2005/8/layout/vList5"/>
    <dgm:cxn modelId="{F8F6C13E-D01B-4DFF-919D-E8AC2C8F790E}" type="presParOf" srcId="{8822EDFF-5C42-4D0D-97A2-A75868EBCDE5}" destId="{2A674569-038A-4E6D-874F-04F2BB79AA3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D3728B-E17C-4CB9-BB6F-DEBDC40112D0}"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E2AA3602-12D4-4C43-A34C-EA167E327AC2}">
      <dgm:prSet/>
      <dgm:spPr/>
      <dgm:t>
        <a:bodyPr/>
        <a:lstStyle/>
        <a:p>
          <a:pPr rtl="0"/>
          <a:r>
            <a:rPr lang="en-US" dirty="0" smtClean="0"/>
            <a:t>Release Cadence</a:t>
          </a:r>
          <a:endParaRPr lang="en-US" dirty="0"/>
        </a:p>
      </dgm:t>
    </dgm:pt>
    <dgm:pt modelId="{BE944225-E884-453D-B3E0-70240269DC2A}" type="parTrans" cxnId="{0A753A63-E6C8-43EB-AEB5-A9F713E18E14}">
      <dgm:prSet/>
      <dgm:spPr/>
      <dgm:t>
        <a:bodyPr/>
        <a:lstStyle/>
        <a:p>
          <a:endParaRPr lang="en-US"/>
        </a:p>
      </dgm:t>
    </dgm:pt>
    <dgm:pt modelId="{36BCBEAC-C9B6-4441-A341-615BB21B6900}" type="sibTrans" cxnId="{0A753A63-E6C8-43EB-AEB5-A9F713E18E14}">
      <dgm:prSet/>
      <dgm:spPr/>
      <dgm:t>
        <a:bodyPr/>
        <a:lstStyle/>
        <a:p>
          <a:endParaRPr lang="en-US"/>
        </a:p>
      </dgm:t>
    </dgm:pt>
    <dgm:pt modelId="{5BCD1C2E-6B4C-4E56-B66D-2BC66E1BFF98}">
      <dgm:prSet custT="1"/>
      <dgm:spPr/>
      <dgm:t>
        <a:bodyPr/>
        <a:lstStyle/>
        <a:p>
          <a:pPr rtl="0"/>
          <a:r>
            <a:rPr lang="en-US" sz="1800" baseline="0" dirty="0" smtClean="0"/>
            <a:t>Move to value based release schedules</a:t>
          </a:r>
          <a:endParaRPr lang="en-US" sz="1800" dirty="0"/>
        </a:p>
      </dgm:t>
    </dgm:pt>
    <dgm:pt modelId="{54E62C57-C0D6-400F-985C-CDF7871ACF56}" type="parTrans" cxnId="{6791EDDB-F617-48C8-B3F0-E3810DED4579}">
      <dgm:prSet/>
      <dgm:spPr/>
      <dgm:t>
        <a:bodyPr/>
        <a:lstStyle/>
        <a:p>
          <a:endParaRPr lang="en-US"/>
        </a:p>
      </dgm:t>
    </dgm:pt>
    <dgm:pt modelId="{20440787-EC63-416B-A266-CA8750D4D920}" type="sibTrans" cxnId="{6791EDDB-F617-48C8-B3F0-E3810DED4579}">
      <dgm:prSet/>
      <dgm:spPr/>
      <dgm:t>
        <a:bodyPr/>
        <a:lstStyle/>
        <a:p>
          <a:endParaRPr lang="en-US"/>
        </a:p>
      </dgm:t>
    </dgm:pt>
    <dgm:pt modelId="{04AE78D0-32DD-464C-B7D9-C2DC2E05C7B0}">
      <dgm:prSet/>
      <dgm:spPr/>
      <dgm:t>
        <a:bodyPr/>
        <a:lstStyle/>
        <a:p>
          <a:pPr rtl="0"/>
          <a:r>
            <a:rPr lang="en-US" baseline="0" dirty="0" smtClean="0"/>
            <a:t>Knowledge Transfer Efficiency</a:t>
          </a:r>
          <a:endParaRPr lang="en-US" dirty="0"/>
        </a:p>
      </dgm:t>
    </dgm:pt>
    <dgm:pt modelId="{90E5BE11-9C31-4D35-992D-35DAE59896CA}" type="parTrans" cxnId="{BF527C5B-EE1B-4957-A781-67E22739D5D6}">
      <dgm:prSet/>
      <dgm:spPr/>
      <dgm:t>
        <a:bodyPr/>
        <a:lstStyle/>
        <a:p>
          <a:endParaRPr lang="en-US"/>
        </a:p>
      </dgm:t>
    </dgm:pt>
    <dgm:pt modelId="{8F435743-1443-4939-B83B-567CF8E61589}" type="sibTrans" cxnId="{BF527C5B-EE1B-4957-A781-67E22739D5D6}">
      <dgm:prSet/>
      <dgm:spPr/>
      <dgm:t>
        <a:bodyPr/>
        <a:lstStyle/>
        <a:p>
          <a:endParaRPr lang="en-US"/>
        </a:p>
      </dgm:t>
    </dgm:pt>
    <dgm:pt modelId="{A2FB7490-DEEE-461F-BACC-FB8AA73D3F7A}">
      <dgm:prSet custT="1"/>
      <dgm:spPr/>
      <dgm:t>
        <a:bodyPr/>
        <a:lstStyle/>
        <a:p>
          <a:pPr rtl="0"/>
          <a:r>
            <a:rPr lang="en-US" sz="1800" baseline="0" dirty="0" smtClean="0"/>
            <a:t>Actionable automated process</a:t>
          </a:r>
          <a:endParaRPr lang="en-US" sz="1800" dirty="0"/>
        </a:p>
      </dgm:t>
    </dgm:pt>
    <dgm:pt modelId="{93340CF4-8945-409F-AE9D-6D7950BFF01D}" type="parTrans" cxnId="{AD31B599-1724-4B71-B82C-C1CF5D836B75}">
      <dgm:prSet/>
      <dgm:spPr/>
      <dgm:t>
        <a:bodyPr/>
        <a:lstStyle/>
        <a:p>
          <a:endParaRPr lang="en-US"/>
        </a:p>
      </dgm:t>
    </dgm:pt>
    <dgm:pt modelId="{A6E3CEEC-AB8B-4509-A535-F358A2463C75}" type="sibTrans" cxnId="{AD31B599-1724-4B71-B82C-C1CF5D836B75}">
      <dgm:prSet/>
      <dgm:spPr/>
      <dgm:t>
        <a:bodyPr/>
        <a:lstStyle/>
        <a:p>
          <a:endParaRPr lang="en-US"/>
        </a:p>
      </dgm:t>
    </dgm:pt>
    <dgm:pt modelId="{8B8E63F2-12E2-4B89-AE46-7D42D2A2CA1C}">
      <dgm:prSet custT="1"/>
      <dgm:spPr/>
      <dgm:t>
        <a:bodyPr/>
        <a:lstStyle/>
        <a:p>
          <a:pPr rtl="0"/>
          <a:r>
            <a:rPr lang="en-US" sz="1800" baseline="0" dirty="0" smtClean="0"/>
            <a:t>Reduce release prep work</a:t>
          </a:r>
          <a:endParaRPr lang="en-US" sz="1800" dirty="0"/>
        </a:p>
      </dgm:t>
    </dgm:pt>
    <dgm:pt modelId="{EC48CFFD-9730-4BDC-9949-E6E71A67EFE9}" type="parTrans" cxnId="{6D2EFC94-F546-4BA3-A505-9BA78B3768FE}">
      <dgm:prSet/>
      <dgm:spPr/>
      <dgm:t>
        <a:bodyPr/>
        <a:lstStyle/>
        <a:p>
          <a:endParaRPr lang="en-US"/>
        </a:p>
      </dgm:t>
    </dgm:pt>
    <dgm:pt modelId="{D138ED8A-58ED-4CE5-8E9C-A8426634B7C6}" type="sibTrans" cxnId="{6D2EFC94-F546-4BA3-A505-9BA78B3768FE}">
      <dgm:prSet/>
      <dgm:spPr/>
      <dgm:t>
        <a:bodyPr/>
        <a:lstStyle/>
        <a:p>
          <a:endParaRPr lang="en-US"/>
        </a:p>
      </dgm:t>
    </dgm:pt>
    <dgm:pt modelId="{5788070D-83B2-4754-98AA-20D03AF930D2}">
      <dgm:prSet custT="1"/>
      <dgm:spPr/>
      <dgm:t>
        <a:bodyPr/>
        <a:lstStyle/>
        <a:p>
          <a:pPr rtl="0"/>
          <a:r>
            <a:rPr lang="en-US" sz="1800" baseline="0" dirty="0" smtClean="0"/>
            <a:t>Eliminate multiple deployment plans tracked by different teams</a:t>
          </a:r>
          <a:endParaRPr lang="en-US" sz="1800" dirty="0"/>
        </a:p>
      </dgm:t>
    </dgm:pt>
    <dgm:pt modelId="{A6BDFD0B-41BC-4437-8CE7-47E975AC19C9}" type="parTrans" cxnId="{236DAF45-7CE3-4E47-B33B-BBDBA09EAF68}">
      <dgm:prSet/>
      <dgm:spPr/>
      <dgm:t>
        <a:bodyPr/>
        <a:lstStyle/>
        <a:p>
          <a:endParaRPr lang="en-US"/>
        </a:p>
      </dgm:t>
    </dgm:pt>
    <dgm:pt modelId="{2206AEB7-9058-4CD4-9FAE-23171ACEDAEB}" type="sibTrans" cxnId="{236DAF45-7CE3-4E47-B33B-BBDBA09EAF68}">
      <dgm:prSet/>
      <dgm:spPr/>
      <dgm:t>
        <a:bodyPr/>
        <a:lstStyle/>
        <a:p>
          <a:endParaRPr lang="en-US"/>
        </a:p>
      </dgm:t>
    </dgm:pt>
    <dgm:pt modelId="{9B382B20-A73C-4E62-81BB-8D5B67B1E300}">
      <dgm:prSet/>
      <dgm:spPr/>
      <dgm:t>
        <a:bodyPr/>
        <a:lstStyle/>
        <a:p>
          <a:pPr rtl="0"/>
          <a:r>
            <a:rPr lang="en-US" baseline="0" dirty="0" smtClean="0"/>
            <a:t>Unified Deployment and Configuration Model</a:t>
          </a:r>
          <a:endParaRPr lang="en-US" dirty="0"/>
        </a:p>
      </dgm:t>
    </dgm:pt>
    <dgm:pt modelId="{20DD6035-BB9F-4B25-8E25-B9D9B7277BFB}" type="parTrans" cxnId="{AF08D45D-84A8-40B2-A91B-7E6D83C721A6}">
      <dgm:prSet/>
      <dgm:spPr/>
      <dgm:t>
        <a:bodyPr/>
        <a:lstStyle/>
        <a:p>
          <a:endParaRPr lang="en-US"/>
        </a:p>
      </dgm:t>
    </dgm:pt>
    <dgm:pt modelId="{160BD51C-0CF5-4E20-9ABD-34A212DF925C}" type="sibTrans" cxnId="{AF08D45D-84A8-40B2-A91B-7E6D83C721A6}">
      <dgm:prSet/>
      <dgm:spPr/>
      <dgm:t>
        <a:bodyPr/>
        <a:lstStyle/>
        <a:p>
          <a:endParaRPr lang="en-US"/>
        </a:p>
      </dgm:t>
    </dgm:pt>
    <dgm:pt modelId="{B92FA7B5-29E3-4161-BCEF-08C9A6FE4C77}">
      <dgm:prSet custT="1"/>
      <dgm:spPr/>
      <dgm:t>
        <a:bodyPr/>
        <a:lstStyle/>
        <a:p>
          <a:pPr rtl="0"/>
          <a:r>
            <a:rPr lang="en-US" sz="1800" baseline="0" dirty="0" smtClean="0"/>
            <a:t>Repeatable deployment process</a:t>
          </a:r>
          <a:endParaRPr lang="en-US" sz="1800" dirty="0"/>
        </a:p>
      </dgm:t>
    </dgm:pt>
    <dgm:pt modelId="{30ABA1E9-65A4-43C7-8D1D-A42EAC4BB57D}" type="parTrans" cxnId="{2B772EBE-C30B-4DB0-9FAE-CBE70D00163B}">
      <dgm:prSet/>
      <dgm:spPr/>
      <dgm:t>
        <a:bodyPr/>
        <a:lstStyle/>
        <a:p>
          <a:endParaRPr lang="en-US"/>
        </a:p>
      </dgm:t>
    </dgm:pt>
    <dgm:pt modelId="{EDCA7F0F-2799-45B9-8B36-DE285F94B86A}" type="sibTrans" cxnId="{2B772EBE-C30B-4DB0-9FAE-CBE70D00163B}">
      <dgm:prSet/>
      <dgm:spPr/>
      <dgm:t>
        <a:bodyPr/>
        <a:lstStyle/>
        <a:p>
          <a:endParaRPr lang="en-US"/>
        </a:p>
      </dgm:t>
    </dgm:pt>
    <dgm:pt modelId="{B228A712-4118-4B0A-A97E-24518B700F11}">
      <dgm:prSet custT="1"/>
      <dgm:spPr/>
      <dgm:t>
        <a:bodyPr/>
        <a:lstStyle/>
        <a:p>
          <a:pPr rtl="0"/>
          <a:r>
            <a:rPr lang="en-US" sz="1800" baseline="0" dirty="0" smtClean="0"/>
            <a:t>Orchestration that takes into account server status and roles</a:t>
          </a:r>
          <a:endParaRPr lang="en-US" sz="1800" dirty="0"/>
        </a:p>
      </dgm:t>
    </dgm:pt>
    <dgm:pt modelId="{037FDCBB-2EFB-457D-9393-7B199400AE53}" type="parTrans" cxnId="{372D7F46-DB7C-4FF9-A42D-765306BDEBEA}">
      <dgm:prSet/>
      <dgm:spPr/>
      <dgm:t>
        <a:bodyPr/>
        <a:lstStyle/>
        <a:p>
          <a:endParaRPr lang="en-US"/>
        </a:p>
      </dgm:t>
    </dgm:pt>
    <dgm:pt modelId="{21B0E7FE-C442-48D1-9201-05419CE305CC}" type="sibTrans" cxnId="{372D7F46-DB7C-4FF9-A42D-765306BDEBEA}">
      <dgm:prSet/>
      <dgm:spPr/>
      <dgm:t>
        <a:bodyPr/>
        <a:lstStyle/>
        <a:p>
          <a:endParaRPr lang="en-US"/>
        </a:p>
      </dgm:t>
    </dgm:pt>
    <dgm:pt modelId="{C4F4B5DA-4984-4689-BE09-8EE1D110C3F9}">
      <dgm:prSet custT="1"/>
      <dgm:spPr/>
      <dgm:t>
        <a:bodyPr/>
        <a:lstStyle/>
        <a:p>
          <a:pPr rtl="0"/>
          <a:r>
            <a:rPr lang="en-US" sz="1800" baseline="0" dirty="0" smtClean="0"/>
            <a:t>Executable by anyone authorized</a:t>
          </a:r>
          <a:endParaRPr lang="en-US" sz="1600" dirty="0"/>
        </a:p>
      </dgm:t>
    </dgm:pt>
    <dgm:pt modelId="{DD0C9354-EEC7-4D74-A117-9116C58C7704}" type="parTrans" cxnId="{4795A873-2580-4C88-B173-F755EE3F3E5C}">
      <dgm:prSet/>
      <dgm:spPr/>
      <dgm:t>
        <a:bodyPr/>
        <a:lstStyle/>
        <a:p>
          <a:endParaRPr lang="en-US"/>
        </a:p>
      </dgm:t>
    </dgm:pt>
    <dgm:pt modelId="{3CDEE55E-8F56-4796-A570-EAEE61CCC543}" type="sibTrans" cxnId="{4795A873-2580-4C88-B173-F755EE3F3E5C}">
      <dgm:prSet/>
      <dgm:spPr/>
      <dgm:t>
        <a:bodyPr/>
        <a:lstStyle/>
        <a:p>
          <a:endParaRPr lang="en-US"/>
        </a:p>
      </dgm:t>
    </dgm:pt>
    <dgm:pt modelId="{B5E823E8-330D-4846-BB7E-F7F4513A5B94}">
      <dgm:prSet custT="1"/>
      <dgm:spPr/>
      <dgm:t>
        <a:bodyPr/>
        <a:lstStyle/>
        <a:p>
          <a:pPr rtl="0"/>
          <a:r>
            <a:rPr lang="en-US" sz="1800" baseline="0" dirty="0" smtClean="0"/>
            <a:t>Prioritize customer facing components</a:t>
          </a:r>
          <a:endParaRPr lang="en-US" sz="1800" dirty="0"/>
        </a:p>
      </dgm:t>
    </dgm:pt>
    <dgm:pt modelId="{05B312FF-16C7-440D-AA4F-8BC1DC7D3CEB}" type="parTrans" cxnId="{55F7071A-1EAC-47D3-844E-422233484316}">
      <dgm:prSet/>
      <dgm:spPr/>
      <dgm:t>
        <a:bodyPr/>
        <a:lstStyle/>
        <a:p>
          <a:endParaRPr lang="en-US"/>
        </a:p>
      </dgm:t>
    </dgm:pt>
    <dgm:pt modelId="{D437A11E-5A2C-44A4-B21A-BF7E759A2604}" type="sibTrans" cxnId="{55F7071A-1EAC-47D3-844E-422233484316}">
      <dgm:prSet/>
      <dgm:spPr/>
      <dgm:t>
        <a:bodyPr/>
        <a:lstStyle/>
        <a:p>
          <a:endParaRPr lang="en-US"/>
        </a:p>
      </dgm:t>
    </dgm:pt>
    <dgm:pt modelId="{C7DC81B6-2284-4BBD-849E-DFB19FF7A733}" type="pres">
      <dgm:prSet presAssocID="{D0D3728B-E17C-4CB9-BB6F-DEBDC40112D0}" presName="Name0" presStyleCnt="0">
        <dgm:presLayoutVars>
          <dgm:dir/>
          <dgm:animLvl val="lvl"/>
          <dgm:resizeHandles val="exact"/>
        </dgm:presLayoutVars>
      </dgm:prSet>
      <dgm:spPr/>
      <dgm:t>
        <a:bodyPr/>
        <a:lstStyle/>
        <a:p>
          <a:endParaRPr lang="en-US"/>
        </a:p>
      </dgm:t>
    </dgm:pt>
    <dgm:pt modelId="{23AAF350-92C1-4CB2-B994-7F6A1B067B4F}" type="pres">
      <dgm:prSet presAssocID="{E2AA3602-12D4-4C43-A34C-EA167E327AC2}" presName="linNode" presStyleCnt="0"/>
      <dgm:spPr/>
      <dgm:t>
        <a:bodyPr/>
        <a:lstStyle/>
        <a:p>
          <a:endParaRPr lang="en-US"/>
        </a:p>
      </dgm:t>
    </dgm:pt>
    <dgm:pt modelId="{14F89895-F05C-4037-AED8-F6F09CB42C79}" type="pres">
      <dgm:prSet presAssocID="{E2AA3602-12D4-4C43-A34C-EA167E327AC2}" presName="parentText" presStyleLbl="node1" presStyleIdx="0" presStyleCnt="3">
        <dgm:presLayoutVars>
          <dgm:chMax val="1"/>
          <dgm:bulletEnabled val="1"/>
        </dgm:presLayoutVars>
      </dgm:prSet>
      <dgm:spPr/>
      <dgm:t>
        <a:bodyPr/>
        <a:lstStyle/>
        <a:p>
          <a:endParaRPr lang="en-US"/>
        </a:p>
      </dgm:t>
    </dgm:pt>
    <dgm:pt modelId="{BEB33D5A-CF02-4919-9894-3A8B4FA21BD8}" type="pres">
      <dgm:prSet presAssocID="{E2AA3602-12D4-4C43-A34C-EA167E327AC2}" presName="descendantText" presStyleLbl="alignAccFollowNode1" presStyleIdx="0" presStyleCnt="3">
        <dgm:presLayoutVars>
          <dgm:bulletEnabled val="1"/>
        </dgm:presLayoutVars>
      </dgm:prSet>
      <dgm:spPr/>
      <dgm:t>
        <a:bodyPr/>
        <a:lstStyle/>
        <a:p>
          <a:endParaRPr lang="en-US"/>
        </a:p>
      </dgm:t>
    </dgm:pt>
    <dgm:pt modelId="{C2F1EE9D-EB25-4B58-B745-DC28701430E2}" type="pres">
      <dgm:prSet presAssocID="{36BCBEAC-C9B6-4441-A341-615BB21B6900}" presName="sp" presStyleCnt="0"/>
      <dgm:spPr/>
      <dgm:t>
        <a:bodyPr/>
        <a:lstStyle/>
        <a:p>
          <a:endParaRPr lang="en-US"/>
        </a:p>
      </dgm:t>
    </dgm:pt>
    <dgm:pt modelId="{B7DE2C62-5060-4617-8204-D28497804242}" type="pres">
      <dgm:prSet presAssocID="{9B382B20-A73C-4E62-81BB-8D5B67B1E300}" presName="linNode" presStyleCnt="0"/>
      <dgm:spPr/>
      <dgm:t>
        <a:bodyPr/>
        <a:lstStyle/>
        <a:p>
          <a:endParaRPr lang="en-US"/>
        </a:p>
      </dgm:t>
    </dgm:pt>
    <dgm:pt modelId="{C5CD3F76-7E96-44E0-8545-A9137A6E1BB6}" type="pres">
      <dgm:prSet presAssocID="{9B382B20-A73C-4E62-81BB-8D5B67B1E300}" presName="parentText" presStyleLbl="node1" presStyleIdx="1" presStyleCnt="3">
        <dgm:presLayoutVars>
          <dgm:chMax val="1"/>
          <dgm:bulletEnabled val="1"/>
        </dgm:presLayoutVars>
      </dgm:prSet>
      <dgm:spPr/>
      <dgm:t>
        <a:bodyPr/>
        <a:lstStyle/>
        <a:p>
          <a:endParaRPr lang="en-US"/>
        </a:p>
      </dgm:t>
    </dgm:pt>
    <dgm:pt modelId="{98828335-0E86-45B7-ABB8-061F0E913D60}" type="pres">
      <dgm:prSet presAssocID="{9B382B20-A73C-4E62-81BB-8D5B67B1E300}" presName="descendantText" presStyleLbl="alignAccFollowNode1" presStyleIdx="1" presStyleCnt="3">
        <dgm:presLayoutVars>
          <dgm:bulletEnabled val="1"/>
        </dgm:presLayoutVars>
      </dgm:prSet>
      <dgm:spPr/>
      <dgm:t>
        <a:bodyPr/>
        <a:lstStyle/>
        <a:p>
          <a:endParaRPr lang="en-US"/>
        </a:p>
      </dgm:t>
    </dgm:pt>
    <dgm:pt modelId="{2C314DBA-9242-417B-B604-879ED15EE775}" type="pres">
      <dgm:prSet presAssocID="{160BD51C-0CF5-4E20-9ABD-34A212DF925C}" presName="sp" presStyleCnt="0"/>
      <dgm:spPr/>
      <dgm:t>
        <a:bodyPr/>
        <a:lstStyle/>
        <a:p>
          <a:endParaRPr lang="en-US"/>
        </a:p>
      </dgm:t>
    </dgm:pt>
    <dgm:pt modelId="{EDD68F47-B75A-452C-82F9-798E40136AE0}" type="pres">
      <dgm:prSet presAssocID="{04AE78D0-32DD-464C-B7D9-C2DC2E05C7B0}" presName="linNode" presStyleCnt="0"/>
      <dgm:spPr/>
      <dgm:t>
        <a:bodyPr/>
        <a:lstStyle/>
        <a:p>
          <a:endParaRPr lang="en-US"/>
        </a:p>
      </dgm:t>
    </dgm:pt>
    <dgm:pt modelId="{2E27DE25-1BB1-45E1-AC29-AB1C916F859A}" type="pres">
      <dgm:prSet presAssocID="{04AE78D0-32DD-464C-B7D9-C2DC2E05C7B0}" presName="parentText" presStyleLbl="node1" presStyleIdx="2" presStyleCnt="3">
        <dgm:presLayoutVars>
          <dgm:chMax val="1"/>
          <dgm:bulletEnabled val="1"/>
        </dgm:presLayoutVars>
      </dgm:prSet>
      <dgm:spPr/>
      <dgm:t>
        <a:bodyPr/>
        <a:lstStyle/>
        <a:p>
          <a:endParaRPr lang="en-US"/>
        </a:p>
      </dgm:t>
    </dgm:pt>
    <dgm:pt modelId="{F2304A0B-578E-431F-B316-A01B4BB548F4}" type="pres">
      <dgm:prSet presAssocID="{04AE78D0-32DD-464C-B7D9-C2DC2E05C7B0}" presName="descendantText" presStyleLbl="alignAccFollowNode1" presStyleIdx="2" presStyleCnt="3">
        <dgm:presLayoutVars>
          <dgm:bulletEnabled val="1"/>
        </dgm:presLayoutVars>
      </dgm:prSet>
      <dgm:spPr/>
      <dgm:t>
        <a:bodyPr/>
        <a:lstStyle/>
        <a:p>
          <a:endParaRPr lang="en-US"/>
        </a:p>
      </dgm:t>
    </dgm:pt>
  </dgm:ptLst>
  <dgm:cxnLst>
    <dgm:cxn modelId="{372D7F46-DB7C-4FF9-A42D-765306BDEBEA}" srcId="{9B382B20-A73C-4E62-81BB-8D5B67B1E300}" destId="{B228A712-4118-4B0A-A97E-24518B700F11}" srcOrd="1" destOrd="0" parTransId="{037FDCBB-2EFB-457D-9393-7B199400AE53}" sibTransId="{21B0E7FE-C442-48D1-9201-05419CE305CC}"/>
    <dgm:cxn modelId="{1C21ECCA-1233-4C42-BDEF-4FFFB0F594F1}" type="presOf" srcId="{A2FB7490-DEEE-461F-BACC-FB8AA73D3F7A}" destId="{F2304A0B-578E-431F-B316-A01B4BB548F4}" srcOrd="0" destOrd="0" presId="urn:microsoft.com/office/officeart/2005/8/layout/vList5"/>
    <dgm:cxn modelId="{6D2EFC94-F546-4BA3-A505-9BA78B3768FE}" srcId="{04AE78D0-32DD-464C-B7D9-C2DC2E05C7B0}" destId="{8B8E63F2-12E2-4B89-AE46-7D42D2A2CA1C}" srcOrd="1" destOrd="0" parTransId="{EC48CFFD-9730-4BDC-9949-E6E71A67EFE9}" sibTransId="{D138ED8A-58ED-4CE5-8E9C-A8426634B7C6}"/>
    <dgm:cxn modelId="{AC51DD26-82BE-47C2-8D40-96BAFFB2EFAA}" type="presOf" srcId="{04AE78D0-32DD-464C-B7D9-C2DC2E05C7B0}" destId="{2E27DE25-1BB1-45E1-AC29-AB1C916F859A}" srcOrd="0" destOrd="0" presId="urn:microsoft.com/office/officeart/2005/8/layout/vList5"/>
    <dgm:cxn modelId="{0FB9BE6C-148F-4557-9367-5A7CC19CB976}" type="presOf" srcId="{5BCD1C2E-6B4C-4E56-B66D-2BC66E1BFF98}" destId="{BEB33D5A-CF02-4919-9894-3A8B4FA21BD8}" srcOrd="0" destOrd="0" presId="urn:microsoft.com/office/officeart/2005/8/layout/vList5"/>
    <dgm:cxn modelId="{2B772EBE-C30B-4DB0-9FAE-CBE70D00163B}" srcId="{9B382B20-A73C-4E62-81BB-8D5B67B1E300}" destId="{B92FA7B5-29E3-4161-BCEF-08C9A6FE4C77}" srcOrd="0" destOrd="0" parTransId="{30ABA1E9-65A4-43C7-8D1D-A42EAC4BB57D}" sibTransId="{EDCA7F0F-2799-45B9-8B36-DE285F94B86A}"/>
    <dgm:cxn modelId="{42742677-917C-49E7-9ACE-520AA6C4AB49}" type="presOf" srcId="{5788070D-83B2-4754-98AA-20D03AF930D2}" destId="{F2304A0B-578E-431F-B316-A01B4BB548F4}" srcOrd="0" destOrd="2" presId="urn:microsoft.com/office/officeart/2005/8/layout/vList5"/>
    <dgm:cxn modelId="{0A753A63-E6C8-43EB-AEB5-A9F713E18E14}" srcId="{D0D3728B-E17C-4CB9-BB6F-DEBDC40112D0}" destId="{E2AA3602-12D4-4C43-A34C-EA167E327AC2}" srcOrd="0" destOrd="0" parTransId="{BE944225-E884-453D-B3E0-70240269DC2A}" sibTransId="{36BCBEAC-C9B6-4441-A341-615BB21B6900}"/>
    <dgm:cxn modelId="{953F8CEA-BDEA-461E-82D3-7B2E90DBB188}" type="presOf" srcId="{C4F4B5DA-4984-4689-BE09-8EE1D110C3F9}" destId="{98828335-0E86-45B7-ABB8-061F0E913D60}" srcOrd="0" destOrd="2" presId="urn:microsoft.com/office/officeart/2005/8/layout/vList5"/>
    <dgm:cxn modelId="{F4F354BA-9FCD-4D5F-B4A1-4EAD0A63FC64}" type="presOf" srcId="{9B382B20-A73C-4E62-81BB-8D5B67B1E300}" destId="{C5CD3F76-7E96-44E0-8545-A9137A6E1BB6}" srcOrd="0" destOrd="0" presId="urn:microsoft.com/office/officeart/2005/8/layout/vList5"/>
    <dgm:cxn modelId="{AD31B599-1724-4B71-B82C-C1CF5D836B75}" srcId="{04AE78D0-32DD-464C-B7D9-C2DC2E05C7B0}" destId="{A2FB7490-DEEE-461F-BACC-FB8AA73D3F7A}" srcOrd="0" destOrd="0" parTransId="{93340CF4-8945-409F-AE9D-6D7950BFF01D}" sibTransId="{A6E3CEEC-AB8B-4509-A535-F358A2463C75}"/>
    <dgm:cxn modelId="{45028A31-3C93-4752-9990-F44951A88916}" type="presOf" srcId="{8B8E63F2-12E2-4B89-AE46-7D42D2A2CA1C}" destId="{F2304A0B-578E-431F-B316-A01B4BB548F4}" srcOrd="0" destOrd="1" presId="urn:microsoft.com/office/officeart/2005/8/layout/vList5"/>
    <dgm:cxn modelId="{C2259700-9459-4CA5-8F79-B6713451EAEF}" type="presOf" srcId="{B5E823E8-330D-4846-BB7E-F7F4513A5B94}" destId="{BEB33D5A-CF02-4919-9894-3A8B4FA21BD8}" srcOrd="0" destOrd="1" presId="urn:microsoft.com/office/officeart/2005/8/layout/vList5"/>
    <dgm:cxn modelId="{8545F7E8-9895-4D0C-A578-AE24E036FA33}" type="presOf" srcId="{D0D3728B-E17C-4CB9-BB6F-DEBDC40112D0}" destId="{C7DC81B6-2284-4BBD-849E-DFB19FF7A733}" srcOrd="0" destOrd="0" presId="urn:microsoft.com/office/officeart/2005/8/layout/vList5"/>
    <dgm:cxn modelId="{C1A94695-E431-41F4-9303-5FA765504E1A}" type="presOf" srcId="{B228A712-4118-4B0A-A97E-24518B700F11}" destId="{98828335-0E86-45B7-ABB8-061F0E913D60}" srcOrd="0" destOrd="1" presId="urn:microsoft.com/office/officeart/2005/8/layout/vList5"/>
    <dgm:cxn modelId="{55F7071A-1EAC-47D3-844E-422233484316}" srcId="{E2AA3602-12D4-4C43-A34C-EA167E327AC2}" destId="{B5E823E8-330D-4846-BB7E-F7F4513A5B94}" srcOrd="1" destOrd="0" parTransId="{05B312FF-16C7-440D-AA4F-8BC1DC7D3CEB}" sibTransId="{D437A11E-5A2C-44A4-B21A-BF7E759A2604}"/>
    <dgm:cxn modelId="{236DAF45-7CE3-4E47-B33B-BBDBA09EAF68}" srcId="{04AE78D0-32DD-464C-B7D9-C2DC2E05C7B0}" destId="{5788070D-83B2-4754-98AA-20D03AF930D2}" srcOrd="2" destOrd="0" parTransId="{A6BDFD0B-41BC-4437-8CE7-47E975AC19C9}" sibTransId="{2206AEB7-9058-4CD4-9FAE-23171ACEDAEB}"/>
    <dgm:cxn modelId="{6791EDDB-F617-48C8-B3F0-E3810DED4579}" srcId="{E2AA3602-12D4-4C43-A34C-EA167E327AC2}" destId="{5BCD1C2E-6B4C-4E56-B66D-2BC66E1BFF98}" srcOrd="0" destOrd="0" parTransId="{54E62C57-C0D6-400F-985C-CDF7871ACF56}" sibTransId="{20440787-EC63-416B-A266-CA8750D4D920}"/>
    <dgm:cxn modelId="{4795A873-2580-4C88-B173-F755EE3F3E5C}" srcId="{9B382B20-A73C-4E62-81BB-8D5B67B1E300}" destId="{C4F4B5DA-4984-4689-BE09-8EE1D110C3F9}" srcOrd="2" destOrd="0" parTransId="{DD0C9354-EEC7-4D74-A117-9116C58C7704}" sibTransId="{3CDEE55E-8F56-4796-A570-EAEE61CCC543}"/>
    <dgm:cxn modelId="{9CDFF1F5-CCC4-47F8-9353-7AA72132B128}" type="presOf" srcId="{E2AA3602-12D4-4C43-A34C-EA167E327AC2}" destId="{14F89895-F05C-4037-AED8-F6F09CB42C79}" srcOrd="0" destOrd="0" presId="urn:microsoft.com/office/officeart/2005/8/layout/vList5"/>
    <dgm:cxn modelId="{BF527C5B-EE1B-4957-A781-67E22739D5D6}" srcId="{D0D3728B-E17C-4CB9-BB6F-DEBDC40112D0}" destId="{04AE78D0-32DD-464C-B7D9-C2DC2E05C7B0}" srcOrd="2" destOrd="0" parTransId="{90E5BE11-9C31-4D35-992D-35DAE59896CA}" sibTransId="{8F435743-1443-4939-B83B-567CF8E61589}"/>
    <dgm:cxn modelId="{AF08D45D-84A8-40B2-A91B-7E6D83C721A6}" srcId="{D0D3728B-E17C-4CB9-BB6F-DEBDC40112D0}" destId="{9B382B20-A73C-4E62-81BB-8D5B67B1E300}" srcOrd="1" destOrd="0" parTransId="{20DD6035-BB9F-4B25-8E25-B9D9B7277BFB}" sibTransId="{160BD51C-0CF5-4E20-9ABD-34A212DF925C}"/>
    <dgm:cxn modelId="{772900D9-287F-4963-9E11-F9FDAB87901F}" type="presOf" srcId="{B92FA7B5-29E3-4161-BCEF-08C9A6FE4C77}" destId="{98828335-0E86-45B7-ABB8-061F0E913D60}" srcOrd="0" destOrd="0" presId="urn:microsoft.com/office/officeart/2005/8/layout/vList5"/>
    <dgm:cxn modelId="{F6C5B9EB-337F-4DDD-A0C2-E2AE706C4671}" type="presParOf" srcId="{C7DC81B6-2284-4BBD-849E-DFB19FF7A733}" destId="{23AAF350-92C1-4CB2-B994-7F6A1B067B4F}" srcOrd="0" destOrd="0" presId="urn:microsoft.com/office/officeart/2005/8/layout/vList5"/>
    <dgm:cxn modelId="{134B7C83-46D8-4452-BD84-B951A9FB869C}" type="presParOf" srcId="{23AAF350-92C1-4CB2-B994-7F6A1B067B4F}" destId="{14F89895-F05C-4037-AED8-F6F09CB42C79}" srcOrd="0" destOrd="0" presId="urn:microsoft.com/office/officeart/2005/8/layout/vList5"/>
    <dgm:cxn modelId="{3D022644-F6EB-47B5-A433-92EE8D5B2E7A}" type="presParOf" srcId="{23AAF350-92C1-4CB2-B994-7F6A1B067B4F}" destId="{BEB33D5A-CF02-4919-9894-3A8B4FA21BD8}" srcOrd="1" destOrd="0" presId="urn:microsoft.com/office/officeart/2005/8/layout/vList5"/>
    <dgm:cxn modelId="{A1267782-C251-46D6-B32A-2E15AEC53FB2}" type="presParOf" srcId="{C7DC81B6-2284-4BBD-849E-DFB19FF7A733}" destId="{C2F1EE9D-EB25-4B58-B745-DC28701430E2}" srcOrd="1" destOrd="0" presId="urn:microsoft.com/office/officeart/2005/8/layout/vList5"/>
    <dgm:cxn modelId="{6ADDC652-7D96-4246-BB89-D818DF909707}" type="presParOf" srcId="{C7DC81B6-2284-4BBD-849E-DFB19FF7A733}" destId="{B7DE2C62-5060-4617-8204-D28497804242}" srcOrd="2" destOrd="0" presId="urn:microsoft.com/office/officeart/2005/8/layout/vList5"/>
    <dgm:cxn modelId="{5C2DD3DE-9232-451E-B628-D37BD26948D5}" type="presParOf" srcId="{B7DE2C62-5060-4617-8204-D28497804242}" destId="{C5CD3F76-7E96-44E0-8545-A9137A6E1BB6}" srcOrd="0" destOrd="0" presId="urn:microsoft.com/office/officeart/2005/8/layout/vList5"/>
    <dgm:cxn modelId="{65EE384E-0221-456C-AD20-47DF533F2CEA}" type="presParOf" srcId="{B7DE2C62-5060-4617-8204-D28497804242}" destId="{98828335-0E86-45B7-ABB8-061F0E913D60}" srcOrd="1" destOrd="0" presId="urn:microsoft.com/office/officeart/2005/8/layout/vList5"/>
    <dgm:cxn modelId="{75245E2E-D76A-49EF-8543-B274E7C0E069}" type="presParOf" srcId="{C7DC81B6-2284-4BBD-849E-DFB19FF7A733}" destId="{2C314DBA-9242-417B-B604-879ED15EE775}" srcOrd="3" destOrd="0" presId="urn:microsoft.com/office/officeart/2005/8/layout/vList5"/>
    <dgm:cxn modelId="{FEEFE9E3-E423-496B-AE7B-7DC96645723A}" type="presParOf" srcId="{C7DC81B6-2284-4BBD-849E-DFB19FF7A733}" destId="{EDD68F47-B75A-452C-82F9-798E40136AE0}" srcOrd="4" destOrd="0" presId="urn:microsoft.com/office/officeart/2005/8/layout/vList5"/>
    <dgm:cxn modelId="{73929434-3BD6-46FC-AD7C-908FC6F8C838}" type="presParOf" srcId="{EDD68F47-B75A-452C-82F9-798E40136AE0}" destId="{2E27DE25-1BB1-45E1-AC29-AB1C916F859A}" srcOrd="0" destOrd="0" presId="urn:microsoft.com/office/officeart/2005/8/layout/vList5"/>
    <dgm:cxn modelId="{3CC464CC-103E-40BE-A065-B212073E27BE}" type="presParOf" srcId="{EDD68F47-B75A-452C-82F9-798E40136AE0}" destId="{F2304A0B-578E-431F-B316-A01B4BB548F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18C805B-3A45-472B-80FD-3EFF0D999BB3}" type="doc">
      <dgm:prSet loTypeId="urn:microsoft.com/office/officeart/2005/8/layout/radial4" loCatId="relationship" qsTypeId="urn:microsoft.com/office/officeart/2005/8/quickstyle/simple1" qsCatId="simple" csTypeId="urn:microsoft.com/office/officeart/2005/8/colors/accent0_3" csCatId="mainScheme" phldr="1"/>
      <dgm:spPr/>
      <dgm:t>
        <a:bodyPr/>
        <a:lstStyle/>
        <a:p>
          <a:endParaRPr lang="en-US"/>
        </a:p>
      </dgm:t>
    </dgm:pt>
    <dgm:pt modelId="{66A1BFA2-68D4-4775-9FD4-8D3B47C98BAB}">
      <dgm:prSet custT="1"/>
      <dgm:spPr>
        <a:solidFill>
          <a:schemeClr val="accent3"/>
        </a:solidFill>
      </dgm:spPr>
      <dgm:t>
        <a:bodyPr/>
        <a:lstStyle/>
        <a:p>
          <a:pPr rtl="0"/>
          <a:r>
            <a:rPr lang="en-US" sz="2000" dirty="0" smtClean="0"/>
            <a:t>Deployment Process</a:t>
          </a:r>
          <a:endParaRPr lang="en-US" sz="2000" dirty="0"/>
        </a:p>
      </dgm:t>
    </dgm:pt>
    <dgm:pt modelId="{4295CC9E-CB4D-440D-96BA-06240ED07416}" type="parTrans" cxnId="{8DC6E8C4-4A23-4BAC-B999-D72FCD63F1BC}">
      <dgm:prSet/>
      <dgm:spPr/>
      <dgm:t>
        <a:bodyPr/>
        <a:lstStyle/>
        <a:p>
          <a:endParaRPr lang="en-US"/>
        </a:p>
      </dgm:t>
    </dgm:pt>
    <dgm:pt modelId="{46FDB950-D028-4725-B89A-46613188B2DF}" type="sibTrans" cxnId="{8DC6E8C4-4A23-4BAC-B999-D72FCD63F1BC}">
      <dgm:prSet/>
      <dgm:spPr/>
      <dgm:t>
        <a:bodyPr/>
        <a:lstStyle/>
        <a:p>
          <a:endParaRPr lang="en-US"/>
        </a:p>
      </dgm:t>
    </dgm:pt>
    <dgm:pt modelId="{96883C7A-3BC7-4C18-83FB-2478331C27A7}">
      <dgm:prSet custT="1"/>
      <dgm:spPr/>
      <dgm:t>
        <a:bodyPr/>
        <a:lstStyle/>
        <a:p>
          <a:pPr rtl="0"/>
          <a:r>
            <a:rPr lang="en-US" sz="1800" dirty="0" smtClean="0"/>
            <a:t>Condition Capable</a:t>
          </a:r>
          <a:endParaRPr lang="en-US" sz="1800" dirty="0"/>
        </a:p>
      </dgm:t>
    </dgm:pt>
    <dgm:pt modelId="{44AFADF2-7EB3-4FDD-8403-B783BD211732}" type="parTrans" cxnId="{F482F1E9-7741-4B59-B840-5B26CCE27BAD}">
      <dgm:prSet/>
      <dgm:spPr/>
      <dgm:t>
        <a:bodyPr/>
        <a:lstStyle/>
        <a:p>
          <a:endParaRPr lang="en-US"/>
        </a:p>
      </dgm:t>
    </dgm:pt>
    <dgm:pt modelId="{B9AB4331-0BB5-4B05-8355-992EDCCBD6C5}" type="sibTrans" cxnId="{F482F1E9-7741-4B59-B840-5B26CCE27BAD}">
      <dgm:prSet/>
      <dgm:spPr/>
      <dgm:t>
        <a:bodyPr/>
        <a:lstStyle/>
        <a:p>
          <a:endParaRPr lang="en-US"/>
        </a:p>
      </dgm:t>
    </dgm:pt>
    <dgm:pt modelId="{942CF785-54EA-4BA3-978F-E04AA38A59B2}">
      <dgm:prSet custT="1"/>
      <dgm:spPr/>
      <dgm:t>
        <a:bodyPr/>
        <a:lstStyle/>
        <a:p>
          <a:pPr rtl="0"/>
          <a:r>
            <a:rPr lang="en-US" sz="1800" baseline="0" dirty="0" smtClean="0"/>
            <a:t>Fully or partially automated transitions</a:t>
          </a:r>
          <a:endParaRPr lang="en-US" sz="1800" dirty="0"/>
        </a:p>
      </dgm:t>
    </dgm:pt>
    <dgm:pt modelId="{560E087B-5141-45B2-AD5F-4D2411B84F22}" type="parTrans" cxnId="{E2702757-5C9C-4452-BEE8-55BDF3E0AE79}">
      <dgm:prSet/>
      <dgm:spPr/>
      <dgm:t>
        <a:bodyPr/>
        <a:lstStyle/>
        <a:p>
          <a:endParaRPr lang="en-US"/>
        </a:p>
      </dgm:t>
    </dgm:pt>
    <dgm:pt modelId="{D04A3980-0F02-4FA1-8C7E-A31C413ECDA1}" type="sibTrans" cxnId="{E2702757-5C9C-4452-BEE8-55BDF3E0AE79}">
      <dgm:prSet/>
      <dgm:spPr/>
      <dgm:t>
        <a:bodyPr/>
        <a:lstStyle/>
        <a:p>
          <a:endParaRPr lang="en-US"/>
        </a:p>
      </dgm:t>
    </dgm:pt>
    <dgm:pt modelId="{DBBD6CAD-0248-4FAC-BADB-D57E61E53D2B}">
      <dgm:prSet custT="1"/>
      <dgm:spPr/>
      <dgm:t>
        <a:bodyPr/>
        <a:lstStyle/>
        <a:p>
          <a:pPr rtl="0"/>
          <a:r>
            <a:rPr lang="en-US" sz="1800" baseline="0" dirty="0" smtClean="0"/>
            <a:t>Behavior is environment indifferent</a:t>
          </a:r>
          <a:endParaRPr lang="en-US" sz="1800" dirty="0"/>
        </a:p>
      </dgm:t>
    </dgm:pt>
    <dgm:pt modelId="{0AD74ECF-3202-43B5-97BE-52D3CBB40E60}" type="parTrans" cxnId="{CAC6A3C9-7973-41CC-A105-A9A3284D0AF9}">
      <dgm:prSet/>
      <dgm:spPr/>
      <dgm:t>
        <a:bodyPr/>
        <a:lstStyle/>
        <a:p>
          <a:endParaRPr lang="en-US"/>
        </a:p>
      </dgm:t>
    </dgm:pt>
    <dgm:pt modelId="{F77429DA-9C3B-43EE-A553-5643F7122722}" type="sibTrans" cxnId="{CAC6A3C9-7973-41CC-A105-A9A3284D0AF9}">
      <dgm:prSet/>
      <dgm:spPr/>
      <dgm:t>
        <a:bodyPr/>
        <a:lstStyle/>
        <a:p>
          <a:endParaRPr lang="en-US"/>
        </a:p>
      </dgm:t>
    </dgm:pt>
    <dgm:pt modelId="{6D9E84F7-EDE5-439A-B822-825F44297DEA}">
      <dgm:prSet custT="1"/>
      <dgm:spPr/>
      <dgm:t>
        <a:bodyPr/>
        <a:lstStyle/>
        <a:p>
          <a:pPr rtl="0"/>
          <a:r>
            <a:rPr lang="en-US" sz="1800" baseline="0" dirty="0" smtClean="0"/>
            <a:t>Performs new validations</a:t>
          </a:r>
          <a:endParaRPr lang="en-US" sz="1800" dirty="0"/>
        </a:p>
      </dgm:t>
    </dgm:pt>
    <dgm:pt modelId="{1557020C-AA7D-4AE2-BC1C-AF77D5BFEFE2}" type="parTrans" cxnId="{EEEBD864-1554-4E21-ACF1-353C585E0B9B}">
      <dgm:prSet/>
      <dgm:spPr/>
      <dgm:t>
        <a:bodyPr/>
        <a:lstStyle/>
        <a:p>
          <a:endParaRPr lang="en-US"/>
        </a:p>
      </dgm:t>
    </dgm:pt>
    <dgm:pt modelId="{84435ED8-267D-4FE8-92EB-02C9E38054F5}" type="sibTrans" cxnId="{EEEBD864-1554-4E21-ACF1-353C585E0B9B}">
      <dgm:prSet/>
      <dgm:spPr/>
      <dgm:t>
        <a:bodyPr/>
        <a:lstStyle/>
        <a:p>
          <a:endParaRPr lang="en-US"/>
        </a:p>
      </dgm:t>
    </dgm:pt>
    <dgm:pt modelId="{C4063806-2E3D-4E3E-85A3-1C3ECBAE6A84}">
      <dgm:prSet custT="1"/>
      <dgm:spPr/>
      <dgm:t>
        <a:bodyPr/>
        <a:lstStyle/>
        <a:p>
          <a:pPr rtl="0"/>
          <a:r>
            <a:rPr lang="en-US" sz="1800" baseline="0" dirty="0" smtClean="0"/>
            <a:t>Follow &amp; track deploy process</a:t>
          </a:r>
          <a:endParaRPr lang="en-US" sz="1800" dirty="0"/>
        </a:p>
      </dgm:t>
    </dgm:pt>
    <dgm:pt modelId="{05EE72C6-30BA-44F5-B085-76459ED444A4}" type="parTrans" cxnId="{6BAE914E-EF47-452E-A820-92BD017019FF}">
      <dgm:prSet/>
      <dgm:spPr/>
      <dgm:t>
        <a:bodyPr/>
        <a:lstStyle/>
        <a:p>
          <a:endParaRPr lang="en-US"/>
        </a:p>
      </dgm:t>
    </dgm:pt>
    <dgm:pt modelId="{ECD7484A-15E6-4BEF-A584-C5D0B1E59C50}" type="sibTrans" cxnId="{6BAE914E-EF47-452E-A820-92BD017019FF}">
      <dgm:prSet/>
      <dgm:spPr/>
      <dgm:t>
        <a:bodyPr/>
        <a:lstStyle/>
        <a:p>
          <a:endParaRPr lang="en-US"/>
        </a:p>
      </dgm:t>
    </dgm:pt>
    <dgm:pt modelId="{ACEFDFE6-EAAC-493D-8693-0C0CE6D0D13B}">
      <dgm:prSet custT="1"/>
      <dgm:spPr/>
      <dgm:t>
        <a:bodyPr/>
        <a:lstStyle/>
        <a:p>
          <a:pPr rtl="0"/>
          <a:r>
            <a:rPr lang="en-US" sz="1800" baseline="0" dirty="0" smtClean="0"/>
            <a:t>Success or failure notification</a:t>
          </a:r>
          <a:endParaRPr lang="en-US" sz="1800" dirty="0"/>
        </a:p>
      </dgm:t>
    </dgm:pt>
    <dgm:pt modelId="{5944A59D-FA3D-484A-A254-F27E5B3E3138}" type="parTrans" cxnId="{68DA1484-42E4-47DA-AC5A-8CDF2E1E25F9}">
      <dgm:prSet/>
      <dgm:spPr/>
      <dgm:t>
        <a:bodyPr/>
        <a:lstStyle/>
        <a:p>
          <a:endParaRPr lang="en-US"/>
        </a:p>
      </dgm:t>
    </dgm:pt>
    <dgm:pt modelId="{F92906DF-C252-49F7-9E69-46FA946985BA}" type="sibTrans" cxnId="{68DA1484-42E4-47DA-AC5A-8CDF2E1E25F9}">
      <dgm:prSet/>
      <dgm:spPr/>
      <dgm:t>
        <a:bodyPr/>
        <a:lstStyle/>
        <a:p>
          <a:endParaRPr lang="en-US"/>
        </a:p>
      </dgm:t>
    </dgm:pt>
    <dgm:pt modelId="{71588AA0-492C-4BE0-B1AB-105AEEBD54ED}">
      <dgm:prSet custT="1"/>
      <dgm:spPr/>
      <dgm:t>
        <a:bodyPr/>
        <a:lstStyle/>
        <a:p>
          <a:pPr rtl="0"/>
          <a:r>
            <a:rPr lang="en-US" sz="1800" baseline="0" smtClean="0"/>
            <a:t>Has audit trail</a:t>
          </a:r>
          <a:endParaRPr lang="en-US" sz="1800"/>
        </a:p>
      </dgm:t>
    </dgm:pt>
    <dgm:pt modelId="{8EAF4FAE-573C-4E45-A0DF-E437617A079C}" type="parTrans" cxnId="{BF96F0D0-71F3-4910-8DF5-3D5B82B8A61F}">
      <dgm:prSet/>
      <dgm:spPr/>
      <dgm:t>
        <a:bodyPr/>
        <a:lstStyle/>
        <a:p>
          <a:endParaRPr lang="en-US"/>
        </a:p>
      </dgm:t>
    </dgm:pt>
    <dgm:pt modelId="{0E992CEC-4148-436E-9962-5D969A80331B}" type="sibTrans" cxnId="{BF96F0D0-71F3-4910-8DF5-3D5B82B8A61F}">
      <dgm:prSet/>
      <dgm:spPr/>
      <dgm:t>
        <a:bodyPr/>
        <a:lstStyle/>
        <a:p>
          <a:endParaRPr lang="en-US"/>
        </a:p>
      </dgm:t>
    </dgm:pt>
    <dgm:pt modelId="{5F07A9A2-C29E-433E-A278-567C217D1255}">
      <dgm:prSet custT="1"/>
      <dgm:spPr/>
      <dgm:t>
        <a:bodyPr/>
        <a:lstStyle/>
        <a:p>
          <a:pPr rtl="0"/>
          <a:r>
            <a:rPr lang="en-US" sz="1800" dirty="0" smtClean="0"/>
            <a:t>Pre- deployment dry-run</a:t>
          </a:r>
          <a:endParaRPr lang="en-US" sz="1800" dirty="0"/>
        </a:p>
      </dgm:t>
    </dgm:pt>
    <dgm:pt modelId="{01BD7703-1D29-46E6-9FE5-78B0F57A9869}" type="parTrans" cxnId="{582A3100-184D-4E0B-AA6E-9BE6E4A5A73F}">
      <dgm:prSet/>
      <dgm:spPr/>
      <dgm:t>
        <a:bodyPr/>
        <a:lstStyle/>
        <a:p>
          <a:endParaRPr lang="en-US"/>
        </a:p>
      </dgm:t>
    </dgm:pt>
    <dgm:pt modelId="{B0AA2B72-42E5-43C1-A4EC-F97F595D0865}" type="sibTrans" cxnId="{582A3100-184D-4E0B-AA6E-9BE6E4A5A73F}">
      <dgm:prSet/>
      <dgm:spPr/>
      <dgm:t>
        <a:bodyPr/>
        <a:lstStyle/>
        <a:p>
          <a:endParaRPr lang="en-US"/>
        </a:p>
      </dgm:t>
    </dgm:pt>
    <dgm:pt modelId="{ED1CEFAD-C793-463B-9C7D-852A46AB509E}" type="pres">
      <dgm:prSet presAssocID="{618C805B-3A45-472B-80FD-3EFF0D999BB3}" presName="cycle" presStyleCnt="0">
        <dgm:presLayoutVars>
          <dgm:chMax val="1"/>
          <dgm:dir/>
          <dgm:animLvl val="ctr"/>
          <dgm:resizeHandles val="exact"/>
        </dgm:presLayoutVars>
      </dgm:prSet>
      <dgm:spPr/>
      <dgm:t>
        <a:bodyPr/>
        <a:lstStyle/>
        <a:p>
          <a:endParaRPr lang="en-US"/>
        </a:p>
      </dgm:t>
    </dgm:pt>
    <dgm:pt modelId="{93B3B594-46C1-4FFE-B587-2EDAD31D06DB}" type="pres">
      <dgm:prSet presAssocID="{66A1BFA2-68D4-4775-9FD4-8D3B47C98BAB}" presName="centerShape" presStyleLbl="node0" presStyleIdx="0" presStyleCnt="1" custScaleX="114349"/>
      <dgm:spPr/>
      <dgm:t>
        <a:bodyPr/>
        <a:lstStyle/>
        <a:p>
          <a:endParaRPr lang="en-US"/>
        </a:p>
      </dgm:t>
    </dgm:pt>
    <dgm:pt modelId="{C079C9D6-550C-4734-B9BB-D0C9E581B17E}" type="pres">
      <dgm:prSet presAssocID="{44AFADF2-7EB3-4FDD-8403-B783BD211732}" presName="parTrans" presStyleLbl="bgSibTrans2D1" presStyleIdx="0" presStyleCnt="8"/>
      <dgm:spPr/>
      <dgm:t>
        <a:bodyPr/>
        <a:lstStyle/>
        <a:p>
          <a:endParaRPr lang="en-US"/>
        </a:p>
      </dgm:t>
    </dgm:pt>
    <dgm:pt modelId="{738AFCC5-8317-44A8-8FBC-F40CB1DD0F98}" type="pres">
      <dgm:prSet presAssocID="{96883C7A-3BC7-4C18-83FB-2478331C27A7}" presName="node" presStyleLbl="node1" presStyleIdx="0" presStyleCnt="8" custScaleX="116443" custScaleY="124327">
        <dgm:presLayoutVars>
          <dgm:bulletEnabled val="1"/>
        </dgm:presLayoutVars>
      </dgm:prSet>
      <dgm:spPr/>
      <dgm:t>
        <a:bodyPr/>
        <a:lstStyle/>
        <a:p>
          <a:endParaRPr lang="en-US"/>
        </a:p>
      </dgm:t>
    </dgm:pt>
    <dgm:pt modelId="{D432E690-1C79-475D-A535-43BBB4A51E89}" type="pres">
      <dgm:prSet presAssocID="{560E087B-5141-45B2-AD5F-4D2411B84F22}" presName="parTrans" presStyleLbl="bgSibTrans2D1" presStyleIdx="1" presStyleCnt="8"/>
      <dgm:spPr/>
      <dgm:t>
        <a:bodyPr/>
        <a:lstStyle/>
        <a:p>
          <a:endParaRPr lang="en-US"/>
        </a:p>
      </dgm:t>
    </dgm:pt>
    <dgm:pt modelId="{ED912734-C01B-406D-AEBD-69E2AFAE0C85}" type="pres">
      <dgm:prSet presAssocID="{942CF785-54EA-4BA3-978F-E04AA38A59B2}" presName="node" presStyleLbl="node1" presStyleIdx="1" presStyleCnt="8" custScaleX="116443" custScaleY="124327" custRadScaleRad="100848" custRadScaleInc="-9598">
        <dgm:presLayoutVars>
          <dgm:bulletEnabled val="1"/>
        </dgm:presLayoutVars>
      </dgm:prSet>
      <dgm:spPr/>
      <dgm:t>
        <a:bodyPr/>
        <a:lstStyle/>
        <a:p>
          <a:endParaRPr lang="en-US"/>
        </a:p>
      </dgm:t>
    </dgm:pt>
    <dgm:pt modelId="{28E44AE4-00B6-4098-BA51-EC98C5F4E08A}" type="pres">
      <dgm:prSet presAssocID="{0AD74ECF-3202-43B5-97BE-52D3CBB40E60}" presName="parTrans" presStyleLbl="bgSibTrans2D1" presStyleIdx="2" presStyleCnt="8"/>
      <dgm:spPr/>
      <dgm:t>
        <a:bodyPr/>
        <a:lstStyle/>
        <a:p>
          <a:endParaRPr lang="en-US"/>
        </a:p>
      </dgm:t>
    </dgm:pt>
    <dgm:pt modelId="{9DE9DD46-D524-4DB3-9D8E-86203A8981A2}" type="pres">
      <dgm:prSet presAssocID="{DBBD6CAD-0248-4FAC-BADB-D57E61E53D2B}" presName="node" presStyleLbl="node1" presStyleIdx="2" presStyleCnt="8" custScaleX="116443" custScaleY="124327" custRadScaleRad="103244" custRadScaleInc="-8336">
        <dgm:presLayoutVars>
          <dgm:bulletEnabled val="1"/>
        </dgm:presLayoutVars>
      </dgm:prSet>
      <dgm:spPr/>
      <dgm:t>
        <a:bodyPr/>
        <a:lstStyle/>
        <a:p>
          <a:endParaRPr lang="en-US"/>
        </a:p>
      </dgm:t>
    </dgm:pt>
    <dgm:pt modelId="{11595297-370D-4B1F-AED4-34C052B8D430}" type="pres">
      <dgm:prSet presAssocID="{01BD7703-1D29-46E6-9FE5-78B0F57A9869}" presName="parTrans" presStyleLbl="bgSibTrans2D1" presStyleIdx="3" presStyleCnt="8"/>
      <dgm:spPr/>
      <dgm:t>
        <a:bodyPr/>
        <a:lstStyle/>
        <a:p>
          <a:endParaRPr lang="en-US"/>
        </a:p>
      </dgm:t>
    </dgm:pt>
    <dgm:pt modelId="{87141752-5084-4233-A491-8A6C5025EA02}" type="pres">
      <dgm:prSet presAssocID="{5F07A9A2-C29E-433E-A278-567C217D1255}" presName="node" presStyleLbl="node1" presStyleIdx="3" presStyleCnt="8" custScaleX="116443" custScaleY="124327">
        <dgm:presLayoutVars>
          <dgm:bulletEnabled val="1"/>
        </dgm:presLayoutVars>
      </dgm:prSet>
      <dgm:spPr/>
      <dgm:t>
        <a:bodyPr/>
        <a:lstStyle/>
        <a:p>
          <a:endParaRPr lang="en-US"/>
        </a:p>
      </dgm:t>
    </dgm:pt>
    <dgm:pt modelId="{70BA84D4-ABA0-448B-89F6-ED22E81E6E8C}" type="pres">
      <dgm:prSet presAssocID="{1557020C-AA7D-4AE2-BC1C-AF77D5BFEFE2}" presName="parTrans" presStyleLbl="bgSibTrans2D1" presStyleIdx="4" presStyleCnt="8"/>
      <dgm:spPr/>
      <dgm:t>
        <a:bodyPr/>
        <a:lstStyle/>
        <a:p>
          <a:endParaRPr lang="en-US"/>
        </a:p>
      </dgm:t>
    </dgm:pt>
    <dgm:pt modelId="{3F482FDC-C142-4482-8533-D62326386394}" type="pres">
      <dgm:prSet presAssocID="{6D9E84F7-EDE5-439A-B822-825F44297DEA}" presName="node" presStyleLbl="node1" presStyleIdx="4" presStyleCnt="8" custScaleX="116443" custScaleY="124327" custRadScaleRad="100264" custRadScaleInc="2866">
        <dgm:presLayoutVars>
          <dgm:bulletEnabled val="1"/>
        </dgm:presLayoutVars>
      </dgm:prSet>
      <dgm:spPr/>
      <dgm:t>
        <a:bodyPr/>
        <a:lstStyle/>
        <a:p>
          <a:endParaRPr lang="en-US"/>
        </a:p>
      </dgm:t>
    </dgm:pt>
    <dgm:pt modelId="{2537AB4D-13FC-465C-84D2-51B67B3D5A32}" type="pres">
      <dgm:prSet presAssocID="{05EE72C6-30BA-44F5-B085-76459ED444A4}" presName="parTrans" presStyleLbl="bgSibTrans2D1" presStyleIdx="5" presStyleCnt="8"/>
      <dgm:spPr/>
      <dgm:t>
        <a:bodyPr/>
        <a:lstStyle/>
        <a:p>
          <a:endParaRPr lang="en-US"/>
        </a:p>
      </dgm:t>
    </dgm:pt>
    <dgm:pt modelId="{8F30EB0E-D006-4BFB-9F97-24D5166EA7B9}" type="pres">
      <dgm:prSet presAssocID="{C4063806-2E3D-4E3E-85A3-1C3ECBAE6A84}" presName="node" presStyleLbl="node1" presStyleIdx="5" presStyleCnt="8" custScaleX="116443" custScaleY="124327" custRadScaleRad="102366" custRadScaleInc="10204">
        <dgm:presLayoutVars>
          <dgm:bulletEnabled val="1"/>
        </dgm:presLayoutVars>
      </dgm:prSet>
      <dgm:spPr/>
      <dgm:t>
        <a:bodyPr/>
        <a:lstStyle/>
        <a:p>
          <a:endParaRPr lang="en-US"/>
        </a:p>
      </dgm:t>
    </dgm:pt>
    <dgm:pt modelId="{6F59D4EA-6399-4B80-A381-4A05DEAD1329}" type="pres">
      <dgm:prSet presAssocID="{5944A59D-FA3D-484A-A254-F27E5B3E3138}" presName="parTrans" presStyleLbl="bgSibTrans2D1" presStyleIdx="6" presStyleCnt="8"/>
      <dgm:spPr/>
      <dgm:t>
        <a:bodyPr/>
        <a:lstStyle/>
        <a:p>
          <a:endParaRPr lang="en-US"/>
        </a:p>
      </dgm:t>
    </dgm:pt>
    <dgm:pt modelId="{DF9DD1D4-A091-4E4B-9693-09F79E9EAE97}" type="pres">
      <dgm:prSet presAssocID="{ACEFDFE6-EAAC-493D-8693-0C0CE6D0D13B}" presName="node" presStyleLbl="node1" presStyleIdx="6" presStyleCnt="8" custScaleX="116443" custScaleY="124327" custRadScaleRad="98433" custRadScaleInc="11228">
        <dgm:presLayoutVars>
          <dgm:bulletEnabled val="1"/>
        </dgm:presLayoutVars>
      </dgm:prSet>
      <dgm:spPr/>
      <dgm:t>
        <a:bodyPr/>
        <a:lstStyle/>
        <a:p>
          <a:endParaRPr lang="en-US"/>
        </a:p>
      </dgm:t>
    </dgm:pt>
    <dgm:pt modelId="{53C668F5-9551-4D50-A517-779D51AD0F0A}" type="pres">
      <dgm:prSet presAssocID="{8EAF4FAE-573C-4E45-A0DF-E437617A079C}" presName="parTrans" presStyleLbl="bgSibTrans2D1" presStyleIdx="7" presStyleCnt="8"/>
      <dgm:spPr/>
      <dgm:t>
        <a:bodyPr/>
        <a:lstStyle/>
        <a:p>
          <a:endParaRPr lang="en-US"/>
        </a:p>
      </dgm:t>
    </dgm:pt>
    <dgm:pt modelId="{DAAD5A93-853E-493E-A570-C14F1FE71FE3}" type="pres">
      <dgm:prSet presAssocID="{71588AA0-492C-4BE0-B1AB-105AEEBD54ED}" presName="node" presStyleLbl="node1" presStyleIdx="7" presStyleCnt="8" custScaleX="116443" custScaleY="124327">
        <dgm:presLayoutVars>
          <dgm:bulletEnabled val="1"/>
        </dgm:presLayoutVars>
      </dgm:prSet>
      <dgm:spPr/>
      <dgm:t>
        <a:bodyPr/>
        <a:lstStyle/>
        <a:p>
          <a:endParaRPr lang="en-US"/>
        </a:p>
      </dgm:t>
    </dgm:pt>
  </dgm:ptLst>
  <dgm:cxnLst>
    <dgm:cxn modelId="{6BAE914E-EF47-452E-A820-92BD017019FF}" srcId="{66A1BFA2-68D4-4775-9FD4-8D3B47C98BAB}" destId="{C4063806-2E3D-4E3E-85A3-1C3ECBAE6A84}" srcOrd="5" destOrd="0" parTransId="{05EE72C6-30BA-44F5-B085-76459ED444A4}" sibTransId="{ECD7484A-15E6-4BEF-A584-C5D0B1E59C50}"/>
    <dgm:cxn modelId="{16845F47-3B73-4523-9A34-B985A31458AF}" type="presOf" srcId="{66A1BFA2-68D4-4775-9FD4-8D3B47C98BAB}" destId="{93B3B594-46C1-4FFE-B587-2EDAD31D06DB}" srcOrd="0" destOrd="0" presId="urn:microsoft.com/office/officeart/2005/8/layout/radial4"/>
    <dgm:cxn modelId="{CF662DDE-E4A1-48AD-B11C-97C98CF03241}" type="presOf" srcId="{ACEFDFE6-EAAC-493D-8693-0C0CE6D0D13B}" destId="{DF9DD1D4-A091-4E4B-9693-09F79E9EAE97}" srcOrd="0" destOrd="0" presId="urn:microsoft.com/office/officeart/2005/8/layout/radial4"/>
    <dgm:cxn modelId="{45EFDD50-3D63-4A11-B405-A930A4935528}" type="presOf" srcId="{5F07A9A2-C29E-433E-A278-567C217D1255}" destId="{87141752-5084-4233-A491-8A6C5025EA02}" srcOrd="0" destOrd="0" presId="urn:microsoft.com/office/officeart/2005/8/layout/radial4"/>
    <dgm:cxn modelId="{8DC6E8C4-4A23-4BAC-B999-D72FCD63F1BC}" srcId="{618C805B-3A45-472B-80FD-3EFF0D999BB3}" destId="{66A1BFA2-68D4-4775-9FD4-8D3B47C98BAB}" srcOrd="0" destOrd="0" parTransId="{4295CC9E-CB4D-440D-96BA-06240ED07416}" sibTransId="{46FDB950-D028-4725-B89A-46613188B2DF}"/>
    <dgm:cxn modelId="{424A1E6F-1E6A-4CA6-9776-EB1270D95B78}" type="presOf" srcId="{05EE72C6-30BA-44F5-B085-76459ED444A4}" destId="{2537AB4D-13FC-465C-84D2-51B67B3D5A32}" srcOrd="0" destOrd="0" presId="urn:microsoft.com/office/officeart/2005/8/layout/radial4"/>
    <dgm:cxn modelId="{582A3100-184D-4E0B-AA6E-9BE6E4A5A73F}" srcId="{66A1BFA2-68D4-4775-9FD4-8D3B47C98BAB}" destId="{5F07A9A2-C29E-433E-A278-567C217D1255}" srcOrd="3" destOrd="0" parTransId="{01BD7703-1D29-46E6-9FE5-78B0F57A9869}" sibTransId="{B0AA2B72-42E5-43C1-A4EC-F97F595D0865}"/>
    <dgm:cxn modelId="{EDA68BF7-AD25-439D-A355-5F38E7ABD6EE}" type="presOf" srcId="{0AD74ECF-3202-43B5-97BE-52D3CBB40E60}" destId="{28E44AE4-00B6-4098-BA51-EC98C5F4E08A}" srcOrd="0" destOrd="0" presId="urn:microsoft.com/office/officeart/2005/8/layout/radial4"/>
    <dgm:cxn modelId="{CA6E6E43-2FAC-4B8E-ACC7-7A7B612F14EC}" type="presOf" srcId="{5944A59D-FA3D-484A-A254-F27E5B3E3138}" destId="{6F59D4EA-6399-4B80-A381-4A05DEAD1329}" srcOrd="0" destOrd="0" presId="urn:microsoft.com/office/officeart/2005/8/layout/radial4"/>
    <dgm:cxn modelId="{E2702757-5C9C-4452-BEE8-55BDF3E0AE79}" srcId="{66A1BFA2-68D4-4775-9FD4-8D3B47C98BAB}" destId="{942CF785-54EA-4BA3-978F-E04AA38A59B2}" srcOrd="1" destOrd="0" parTransId="{560E087B-5141-45B2-AD5F-4D2411B84F22}" sibTransId="{D04A3980-0F02-4FA1-8C7E-A31C413ECDA1}"/>
    <dgm:cxn modelId="{68DA1484-42E4-47DA-AC5A-8CDF2E1E25F9}" srcId="{66A1BFA2-68D4-4775-9FD4-8D3B47C98BAB}" destId="{ACEFDFE6-EAAC-493D-8693-0C0CE6D0D13B}" srcOrd="6" destOrd="0" parTransId="{5944A59D-FA3D-484A-A254-F27E5B3E3138}" sibTransId="{F92906DF-C252-49F7-9E69-46FA946985BA}"/>
    <dgm:cxn modelId="{9E0BAE5E-C3F1-4475-9503-49C069748A74}" type="presOf" srcId="{8EAF4FAE-573C-4E45-A0DF-E437617A079C}" destId="{53C668F5-9551-4D50-A517-779D51AD0F0A}" srcOrd="0" destOrd="0" presId="urn:microsoft.com/office/officeart/2005/8/layout/radial4"/>
    <dgm:cxn modelId="{E79B88BA-0DBC-4D79-AA2D-BA8ECCBBB7E8}" type="presOf" srcId="{96883C7A-3BC7-4C18-83FB-2478331C27A7}" destId="{738AFCC5-8317-44A8-8FBC-F40CB1DD0F98}" srcOrd="0" destOrd="0" presId="urn:microsoft.com/office/officeart/2005/8/layout/radial4"/>
    <dgm:cxn modelId="{DA54F6A2-7F49-4868-A9B7-8BDED3D2E02C}" type="presOf" srcId="{560E087B-5141-45B2-AD5F-4D2411B84F22}" destId="{D432E690-1C79-475D-A535-43BBB4A51E89}" srcOrd="0" destOrd="0" presId="urn:microsoft.com/office/officeart/2005/8/layout/radial4"/>
    <dgm:cxn modelId="{154F6CBC-462A-4739-BBE3-CE31EC637CAA}" type="presOf" srcId="{942CF785-54EA-4BA3-978F-E04AA38A59B2}" destId="{ED912734-C01B-406D-AEBD-69E2AFAE0C85}" srcOrd="0" destOrd="0" presId="urn:microsoft.com/office/officeart/2005/8/layout/radial4"/>
    <dgm:cxn modelId="{7B72CAE7-7522-4CFA-9EF3-9FA5271002D5}" type="presOf" srcId="{C4063806-2E3D-4E3E-85A3-1C3ECBAE6A84}" destId="{8F30EB0E-D006-4BFB-9F97-24D5166EA7B9}" srcOrd="0" destOrd="0" presId="urn:microsoft.com/office/officeart/2005/8/layout/radial4"/>
    <dgm:cxn modelId="{01C55E03-5B17-46B4-9706-6FD39D359E5D}" type="presOf" srcId="{44AFADF2-7EB3-4FDD-8403-B783BD211732}" destId="{C079C9D6-550C-4734-B9BB-D0C9E581B17E}" srcOrd="0" destOrd="0" presId="urn:microsoft.com/office/officeart/2005/8/layout/radial4"/>
    <dgm:cxn modelId="{F482F1E9-7741-4B59-B840-5B26CCE27BAD}" srcId="{66A1BFA2-68D4-4775-9FD4-8D3B47C98BAB}" destId="{96883C7A-3BC7-4C18-83FB-2478331C27A7}" srcOrd="0" destOrd="0" parTransId="{44AFADF2-7EB3-4FDD-8403-B783BD211732}" sibTransId="{B9AB4331-0BB5-4B05-8355-992EDCCBD6C5}"/>
    <dgm:cxn modelId="{CAC6A3C9-7973-41CC-A105-A9A3284D0AF9}" srcId="{66A1BFA2-68D4-4775-9FD4-8D3B47C98BAB}" destId="{DBBD6CAD-0248-4FAC-BADB-D57E61E53D2B}" srcOrd="2" destOrd="0" parTransId="{0AD74ECF-3202-43B5-97BE-52D3CBB40E60}" sibTransId="{F77429DA-9C3B-43EE-A553-5643F7122722}"/>
    <dgm:cxn modelId="{3FDC2B14-39AB-4B8F-AB39-5F9D9948756E}" type="presOf" srcId="{618C805B-3A45-472B-80FD-3EFF0D999BB3}" destId="{ED1CEFAD-C793-463B-9C7D-852A46AB509E}" srcOrd="0" destOrd="0" presId="urn:microsoft.com/office/officeart/2005/8/layout/radial4"/>
    <dgm:cxn modelId="{FE7DB5A1-59D6-420D-A833-5C218AE2A72A}" type="presOf" srcId="{1557020C-AA7D-4AE2-BC1C-AF77D5BFEFE2}" destId="{70BA84D4-ABA0-448B-89F6-ED22E81E6E8C}" srcOrd="0" destOrd="0" presId="urn:microsoft.com/office/officeart/2005/8/layout/radial4"/>
    <dgm:cxn modelId="{99D24FB7-2517-4657-A6B4-4CBCDD5A9B27}" type="presOf" srcId="{6D9E84F7-EDE5-439A-B822-825F44297DEA}" destId="{3F482FDC-C142-4482-8533-D62326386394}" srcOrd="0" destOrd="0" presId="urn:microsoft.com/office/officeart/2005/8/layout/radial4"/>
    <dgm:cxn modelId="{D5FE4569-6881-47EE-8D53-AD1725FA70BA}" type="presOf" srcId="{01BD7703-1D29-46E6-9FE5-78B0F57A9869}" destId="{11595297-370D-4B1F-AED4-34C052B8D430}" srcOrd="0" destOrd="0" presId="urn:microsoft.com/office/officeart/2005/8/layout/radial4"/>
    <dgm:cxn modelId="{EEEBD864-1554-4E21-ACF1-353C585E0B9B}" srcId="{66A1BFA2-68D4-4775-9FD4-8D3B47C98BAB}" destId="{6D9E84F7-EDE5-439A-B822-825F44297DEA}" srcOrd="4" destOrd="0" parTransId="{1557020C-AA7D-4AE2-BC1C-AF77D5BFEFE2}" sibTransId="{84435ED8-267D-4FE8-92EB-02C9E38054F5}"/>
    <dgm:cxn modelId="{9A524230-5542-411E-828E-3F5DD0394CD2}" type="presOf" srcId="{71588AA0-492C-4BE0-B1AB-105AEEBD54ED}" destId="{DAAD5A93-853E-493E-A570-C14F1FE71FE3}" srcOrd="0" destOrd="0" presId="urn:microsoft.com/office/officeart/2005/8/layout/radial4"/>
    <dgm:cxn modelId="{BF96F0D0-71F3-4910-8DF5-3D5B82B8A61F}" srcId="{66A1BFA2-68D4-4775-9FD4-8D3B47C98BAB}" destId="{71588AA0-492C-4BE0-B1AB-105AEEBD54ED}" srcOrd="7" destOrd="0" parTransId="{8EAF4FAE-573C-4E45-A0DF-E437617A079C}" sibTransId="{0E992CEC-4148-436E-9962-5D969A80331B}"/>
    <dgm:cxn modelId="{60D2AC9E-70FA-43D4-8DA2-D75C79D9F537}" type="presOf" srcId="{DBBD6CAD-0248-4FAC-BADB-D57E61E53D2B}" destId="{9DE9DD46-D524-4DB3-9D8E-86203A8981A2}" srcOrd="0" destOrd="0" presId="urn:microsoft.com/office/officeart/2005/8/layout/radial4"/>
    <dgm:cxn modelId="{958CC05B-D135-417A-9EDB-1EBB366AAAF4}" type="presParOf" srcId="{ED1CEFAD-C793-463B-9C7D-852A46AB509E}" destId="{93B3B594-46C1-4FFE-B587-2EDAD31D06DB}" srcOrd="0" destOrd="0" presId="urn:microsoft.com/office/officeart/2005/8/layout/radial4"/>
    <dgm:cxn modelId="{8310D245-44A5-488C-8028-A3DBC53D53B9}" type="presParOf" srcId="{ED1CEFAD-C793-463B-9C7D-852A46AB509E}" destId="{C079C9D6-550C-4734-B9BB-D0C9E581B17E}" srcOrd="1" destOrd="0" presId="urn:microsoft.com/office/officeart/2005/8/layout/radial4"/>
    <dgm:cxn modelId="{53BA647B-234C-4D48-B39B-7966BA1161D1}" type="presParOf" srcId="{ED1CEFAD-C793-463B-9C7D-852A46AB509E}" destId="{738AFCC5-8317-44A8-8FBC-F40CB1DD0F98}" srcOrd="2" destOrd="0" presId="urn:microsoft.com/office/officeart/2005/8/layout/radial4"/>
    <dgm:cxn modelId="{9F16C14D-FC13-4C58-89FA-2CD27194E882}" type="presParOf" srcId="{ED1CEFAD-C793-463B-9C7D-852A46AB509E}" destId="{D432E690-1C79-475D-A535-43BBB4A51E89}" srcOrd="3" destOrd="0" presId="urn:microsoft.com/office/officeart/2005/8/layout/radial4"/>
    <dgm:cxn modelId="{CBD1B33C-CF1B-466E-931B-340D6AF61AFC}" type="presParOf" srcId="{ED1CEFAD-C793-463B-9C7D-852A46AB509E}" destId="{ED912734-C01B-406D-AEBD-69E2AFAE0C85}" srcOrd="4" destOrd="0" presId="urn:microsoft.com/office/officeart/2005/8/layout/radial4"/>
    <dgm:cxn modelId="{E77EF85D-784A-444A-A94E-AD3D7E664ABD}" type="presParOf" srcId="{ED1CEFAD-C793-463B-9C7D-852A46AB509E}" destId="{28E44AE4-00B6-4098-BA51-EC98C5F4E08A}" srcOrd="5" destOrd="0" presId="urn:microsoft.com/office/officeart/2005/8/layout/radial4"/>
    <dgm:cxn modelId="{168994D7-D908-4E86-9356-24A49FADA234}" type="presParOf" srcId="{ED1CEFAD-C793-463B-9C7D-852A46AB509E}" destId="{9DE9DD46-D524-4DB3-9D8E-86203A8981A2}" srcOrd="6" destOrd="0" presId="urn:microsoft.com/office/officeart/2005/8/layout/radial4"/>
    <dgm:cxn modelId="{BEBC8D0D-B429-48D5-8469-9015EA7994E1}" type="presParOf" srcId="{ED1CEFAD-C793-463B-9C7D-852A46AB509E}" destId="{11595297-370D-4B1F-AED4-34C052B8D430}" srcOrd="7" destOrd="0" presId="urn:microsoft.com/office/officeart/2005/8/layout/radial4"/>
    <dgm:cxn modelId="{3F82DD38-032B-47DC-BBEB-AF6CD459E154}" type="presParOf" srcId="{ED1CEFAD-C793-463B-9C7D-852A46AB509E}" destId="{87141752-5084-4233-A491-8A6C5025EA02}" srcOrd="8" destOrd="0" presId="urn:microsoft.com/office/officeart/2005/8/layout/radial4"/>
    <dgm:cxn modelId="{87E1F1DB-51E8-42FA-9E6C-B1881D546075}" type="presParOf" srcId="{ED1CEFAD-C793-463B-9C7D-852A46AB509E}" destId="{70BA84D4-ABA0-448B-89F6-ED22E81E6E8C}" srcOrd="9" destOrd="0" presId="urn:microsoft.com/office/officeart/2005/8/layout/radial4"/>
    <dgm:cxn modelId="{669063BC-9E0F-4F04-BC02-90569D4A48F6}" type="presParOf" srcId="{ED1CEFAD-C793-463B-9C7D-852A46AB509E}" destId="{3F482FDC-C142-4482-8533-D62326386394}" srcOrd="10" destOrd="0" presId="urn:microsoft.com/office/officeart/2005/8/layout/radial4"/>
    <dgm:cxn modelId="{175029D2-F929-4F08-A923-F131C7D3BB27}" type="presParOf" srcId="{ED1CEFAD-C793-463B-9C7D-852A46AB509E}" destId="{2537AB4D-13FC-465C-84D2-51B67B3D5A32}" srcOrd="11" destOrd="0" presId="urn:microsoft.com/office/officeart/2005/8/layout/radial4"/>
    <dgm:cxn modelId="{0B76C861-91A4-485E-84B8-16AB2ABCDCC7}" type="presParOf" srcId="{ED1CEFAD-C793-463B-9C7D-852A46AB509E}" destId="{8F30EB0E-D006-4BFB-9F97-24D5166EA7B9}" srcOrd="12" destOrd="0" presId="urn:microsoft.com/office/officeart/2005/8/layout/radial4"/>
    <dgm:cxn modelId="{94D81318-DFBD-447D-85B6-D5077D9AE779}" type="presParOf" srcId="{ED1CEFAD-C793-463B-9C7D-852A46AB509E}" destId="{6F59D4EA-6399-4B80-A381-4A05DEAD1329}" srcOrd="13" destOrd="0" presId="urn:microsoft.com/office/officeart/2005/8/layout/radial4"/>
    <dgm:cxn modelId="{54E5AEC9-F83E-4AC3-97B1-204F3531DD0A}" type="presParOf" srcId="{ED1CEFAD-C793-463B-9C7D-852A46AB509E}" destId="{DF9DD1D4-A091-4E4B-9693-09F79E9EAE97}" srcOrd="14" destOrd="0" presId="urn:microsoft.com/office/officeart/2005/8/layout/radial4"/>
    <dgm:cxn modelId="{880BDBE7-8129-4105-887B-37062F35025B}" type="presParOf" srcId="{ED1CEFAD-C793-463B-9C7D-852A46AB509E}" destId="{53C668F5-9551-4D50-A517-779D51AD0F0A}" srcOrd="15" destOrd="0" presId="urn:microsoft.com/office/officeart/2005/8/layout/radial4"/>
    <dgm:cxn modelId="{7BBE1022-D000-4612-8EC6-2FFD4036C9AE}" type="presParOf" srcId="{ED1CEFAD-C793-463B-9C7D-852A46AB509E}" destId="{DAAD5A93-853E-493E-A570-C14F1FE71FE3}" srcOrd="1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0C2D09E-C6F8-42ED-8CC8-7A99C71ED296}"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B613F168-D285-4905-B3BC-847405C40D81}">
      <dgm:prSet/>
      <dgm:spPr>
        <a:solidFill>
          <a:schemeClr val="bg1"/>
        </a:solidFill>
      </dgm:spPr>
      <dgm:t>
        <a:bodyPr/>
        <a:lstStyle/>
        <a:p>
          <a:pPr rtl="0"/>
          <a:r>
            <a:rPr lang="en-US" dirty="0" smtClean="0"/>
            <a:t>Release Deployment Plan</a:t>
          </a:r>
          <a:endParaRPr lang="en-US" dirty="0"/>
        </a:p>
      </dgm:t>
    </dgm:pt>
    <dgm:pt modelId="{D3C5F031-1350-432E-B036-4D1494C5B77F}" type="parTrans" cxnId="{1D8E23BC-B362-4077-A8EE-89CE0B352454}">
      <dgm:prSet/>
      <dgm:spPr/>
      <dgm:t>
        <a:bodyPr/>
        <a:lstStyle/>
        <a:p>
          <a:endParaRPr lang="en-US"/>
        </a:p>
      </dgm:t>
    </dgm:pt>
    <dgm:pt modelId="{BC3A7E2C-BAB3-42C5-ABBE-26B17F1D52FB}" type="sibTrans" cxnId="{1D8E23BC-B362-4077-A8EE-89CE0B352454}">
      <dgm:prSet/>
      <dgm:spPr/>
      <dgm:t>
        <a:bodyPr/>
        <a:lstStyle/>
        <a:p>
          <a:endParaRPr lang="en-US"/>
        </a:p>
      </dgm:t>
    </dgm:pt>
    <dgm:pt modelId="{707D254E-5B36-4AD0-9819-67507C3B7BD4}">
      <dgm:prSet custT="1"/>
      <dgm:spPr>
        <a:solidFill>
          <a:schemeClr val="accent5"/>
        </a:solidFill>
      </dgm:spPr>
      <dgm:t>
        <a:bodyPr/>
        <a:lstStyle/>
        <a:p>
          <a:pPr rtl="0"/>
          <a:r>
            <a:rPr lang="en-US" sz="2900" baseline="0" dirty="0" smtClean="0"/>
            <a:t>Existing Approach </a:t>
          </a:r>
          <a:r>
            <a:rPr lang="en-US" sz="2000" baseline="0" dirty="0" smtClean="0"/>
            <a:t>(weeks)</a:t>
          </a:r>
          <a:endParaRPr lang="en-US" sz="2000" dirty="0"/>
        </a:p>
      </dgm:t>
    </dgm:pt>
    <dgm:pt modelId="{7FB7EADA-5278-4E7A-9CEA-7661B824C06A}" type="parTrans" cxnId="{AACE23CD-2D4D-40FC-9D1D-68BD4CBA0AA2}">
      <dgm:prSet/>
      <dgm:spPr/>
      <dgm:t>
        <a:bodyPr/>
        <a:lstStyle/>
        <a:p>
          <a:endParaRPr lang="en-US"/>
        </a:p>
      </dgm:t>
    </dgm:pt>
    <dgm:pt modelId="{E734A847-4A7F-44A9-BA92-8B6B3A82F700}" type="sibTrans" cxnId="{AACE23CD-2D4D-40FC-9D1D-68BD4CBA0AA2}">
      <dgm:prSet/>
      <dgm:spPr/>
      <dgm:t>
        <a:bodyPr/>
        <a:lstStyle/>
        <a:p>
          <a:endParaRPr lang="en-US"/>
        </a:p>
      </dgm:t>
    </dgm:pt>
    <dgm:pt modelId="{15300F9B-28D8-4708-9CEC-F95250AFBF15}">
      <dgm:prSet custT="1"/>
      <dgm:spPr>
        <a:solidFill>
          <a:schemeClr val="accent5"/>
        </a:solidFill>
      </dgm:spPr>
      <dgm:t>
        <a:bodyPr/>
        <a:lstStyle/>
        <a:p>
          <a:pPr rtl="0"/>
          <a:r>
            <a:rPr lang="en-US" sz="1600" baseline="0" dirty="0" smtClean="0"/>
            <a:t>Which version to deploy?</a:t>
          </a:r>
          <a:endParaRPr lang="en-US" sz="1600" dirty="0"/>
        </a:p>
      </dgm:t>
    </dgm:pt>
    <dgm:pt modelId="{BC2535AB-4E4D-449F-A6D0-D908AD053749}" type="parTrans" cxnId="{60B94992-0A91-4A41-B5AB-5B67997B9090}">
      <dgm:prSet/>
      <dgm:spPr/>
      <dgm:t>
        <a:bodyPr/>
        <a:lstStyle/>
        <a:p>
          <a:endParaRPr lang="en-US"/>
        </a:p>
      </dgm:t>
    </dgm:pt>
    <dgm:pt modelId="{F395A22C-7030-45E6-B673-4FA73EACBB55}" type="sibTrans" cxnId="{60B94992-0A91-4A41-B5AB-5B67997B9090}">
      <dgm:prSet/>
      <dgm:spPr/>
      <dgm:t>
        <a:bodyPr/>
        <a:lstStyle/>
        <a:p>
          <a:endParaRPr lang="en-US"/>
        </a:p>
      </dgm:t>
    </dgm:pt>
    <dgm:pt modelId="{A5D05827-83FD-402B-A573-57885F93166E}">
      <dgm:prSet custT="1"/>
      <dgm:spPr>
        <a:solidFill>
          <a:schemeClr val="accent5"/>
        </a:solidFill>
      </dgm:spPr>
      <dgm:t>
        <a:bodyPr/>
        <a:lstStyle/>
        <a:p>
          <a:pPr rtl="0"/>
          <a:r>
            <a:rPr lang="en-US" sz="1600" baseline="0" dirty="0" smtClean="0"/>
            <a:t>To what servers?</a:t>
          </a:r>
          <a:endParaRPr lang="en-US" sz="1600" dirty="0"/>
        </a:p>
      </dgm:t>
    </dgm:pt>
    <dgm:pt modelId="{FACD670A-EA42-4AC1-9300-5A19CC491A13}" type="parTrans" cxnId="{C8B2122D-4205-45E3-819B-C752685DCDD4}">
      <dgm:prSet/>
      <dgm:spPr/>
      <dgm:t>
        <a:bodyPr/>
        <a:lstStyle/>
        <a:p>
          <a:endParaRPr lang="en-US"/>
        </a:p>
      </dgm:t>
    </dgm:pt>
    <dgm:pt modelId="{BCDB5541-5787-4863-8744-D1A5479B4683}" type="sibTrans" cxnId="{C8B2122D-4205-45E3-819B-C752685DCDD4}">
      <dgm:prSet/>
      <dgm:spPr/>
      <dgm:t>
        <a:bodyPr/>
        <a:lstStyle/>
        <a:p>
          <a:endParaRPr lang="en-US"/>
        </a:p>
      </dgm:t>
    </dgm:pt>
    <dgm:pt modelId="{EEA4DEAC-4483-42AD-82DA-B0D67AC523E9}">
      <dgm:prSet custT="1"/>
      <dgm:spPr>
        <a:solidFill>
          <a:schemeClr val="accent5"/>
        </a:solidFill>
      </dgm:spPr>
      <dgm:t>
        <a:bodyPr/>
        <a:lstStyle/>
        <a:p>
          <a:pPr rtl="0"/>
          <a:r>
            <a:rPr lang="en-US" sz="1600" baseline="0" dirty="0" smtClean="0"/>
            <a:t>Sequence?</a:t>
          </a:r>
          <a:endParaRPr lang="en-US" sz="1600" dirty="0"/>
        </a:p>
      </dgm:t>
    </dgm:pt>
    <dgm:pt modelId="{8CB2FF5A-CFA7-4523-8D98-AEFE9BD9CFFB}" type="parTrans" cxnId="{B9D30CF1-C1FF-41DE-A2DA-95DAAC3A84F8}">
      <dgm:prSet/>
      <dgm:spPr/>
      <dgm:t>
        <a:bodyPr/>
        <a:lstStyle/>
        <a:p>
          <a:endParaRPr lang="en-US"/>
        </a:p>
      </dgm:t>
    </dgm:pt>
    <dgm:pt modelId="{E30AB6EB-8078-482F-882A-5FBDA21DC935}" type="sibTrans" cxnId="{B9D30CF1-C1FF-41DE-A2DA-95DAAC3A84F8}">
      <dgm:prSet/>
      <dgm:spPr/>
      <dgm:t>
        <a:bodyPr/>
        <a:lstStyle/>
        <a:p>
          <a:endParaRPr lang="en-US"/>
        </a:p>
      </dgm:t>
    </dgm:pt>
    <dgm:pt modelId="{65F0CBF7-4EEB-4943-9975-1C05BC5F320E}">
      <dgm:prSet custT="1"/>
      <dgm:spPr>
        <a:solidFill>
          <a:schemeClr val="accent3"/>
        </a:solidFill>
      </dgm:spPr>
      <dgm:t>
        <a:bodyPr/>
        <a:lstStyle/>
        <a:p>
          <a:pPr rtl="0"/>
          <a:r>
            <a:rPr lang="en-US" sz="2900" baseline="0" dirty="0" smtClean="0"/>
            <a:t>New Approach </a:t>
          </a:r>
          <a:r>
            <a:rPr lang="en-US" sz="1600" baseline="0" dirty="0" smtClean="0"/>
            <a:t>(days)</a:t>
          </a:r>
          <a:endParaRPr lang="en-US" sz="1600" dirty="0"/>
        </a:p>
      </dgm:t>
    </dgm:pt>
    <dgm:pt modelId="{0E814974-ADF5-459D-8A72-399019F9FD22}" type="parTrans" cxnId="{6681AC99-FED7-4586-9D38-C408C8DE8109}">
      <dgm:prSet/>
      <dgm:spPr/>
      <dgm:t>
        <a:bodyPr/>
        <a:lstStyle/>
        <a:p>
          <a:endParaRPr lang="en-US"/>
        </a:p>
      </dgm:t>
    </dgm:pt>
    <dgm:pt modelId="{D697DA53-59D1-4BE8-A85A-995B8D847032}" type="sibTrans" cxnId="{6681AC99-FED7-4586-9D38-C408C8DE8109}">
      <dgm:prSet/>
      <dgm:spPr/>
      <dgm:t>
        <a:bodyPr/>
        <a:lstStyle/>
        <a:p>
          <a:endParaRPr lang="en-US"/>
        </a:p>
      </dgm:t>
    </dgm:pt>
    <dgm:pt modelId="{62878E5A-2C13-4AD6-A5B9-7074D7B6D51D}">
      <dgm:prSet custT="1"/>
      <dgm:spPr>
        <a:solidFill>
          <a:schemeClr val="accent3"/>
        </a:solidFill>
      </dgm:spPr>
      <dgm:t>
        <a:bodyPr/>
        <a:lstStyle/>
        <a:p>
          <a:pPr rtl="0"/>
          <a:r>
            <a:rPr lang="en-US" sz="1600" baseline="0" dirty="0" smtClean="0"/>
            <a:t>Reuse plan</a:t>
          </a:r>
          <a:endParaRPr lang="en-US" sz="1600" dirty="0"/>
        </a:p>
      </dgm:t>
    </dgm:pt>
    <dgm:pt modelId="{A0F1F8F7-7842-4E78-A871-EC421AEA4F6B}" type="parTrans" cxnId="{5A982F64-96CE-458F-8234-840035702428}">
      <dgm:prSet/>
      <dgm:spPr/>
      <dgm:t>
        <a:bodyPr/>
        <a:lstStyle/>
        <a:p>
          <a:endParaRPr lang="en-US"/>
        </a:p>
      </dgm:t>
    </dgm:pt>
    <dgm:pt modelId="{1CD21ECE-F496-4D8D-9B24-F56F76527ED2}" type="sibTrans" cxnId="{5A982F64-96CE-458F-8234-840035702428}">
      <dgm:prSet/>
      <dgm:spPr/>
      <dgm:t>
        <a:bodyPr/>
        <a:lstStyle/>
        <a:p>
          <a:endParaRPr lang="en-US"/>
        </a:p>
      </dgm:t>
    </dgm:pt>
    <dgm:pt modelId="{E9663B9C-A803-4C25-A365-50A275C56D58}">
      <dgm:prSet custT="1"/>
      <dgm:spPr>
        <a:solidFill>
          <a:schemeClr val="accent3"/>
        </a:solidFill>
      </dgm:spPr>
      <dgm:t>
        <a:bodyPr/>
        <a:lstStyle/>
        <a:p>
          <a:pPr rtl="0"/>
          <a:r>
            <a:rPr lang="en-US" sz="1600" baseline="0" dirty="0" smtClean="0"/>
            <a:t>Unified deploy</a:t>
          </a:r>
          <a:endParaRPr lang="en-US" sz="1600" dirty="0"/>
        </a:p>
      </dgm:t>
    </dgm:pt>
    <dgm:pt modelId="{1997B338-CC4F-4CDE-949F-2FDECEA2ACE1}" type="parTrans" cxnId="{A9BA04D1-5ECB-48DE-9FC0-F1051C8F572C}">
      <dgm:prSet/>
      <dgm:spPr/>
      <dgm:t>
        <a:bodyPr/>
        <a:lstStyle/>
        <a:p>
          <a:endParaRPr lang="en-US"/>
        </a:p>
      </dgm:t>
    </dgm:pt>
    <dgm:pt modelId="{DD863921-4EA9-446C-988A-14D2337F7181}" type="sibTrans" cxnId="{A9BA04D1-5ECB-48DE-9FC0-F1051C8F572C}">
      <dgm:prSet/>
      <dgm:spPr/>
      <dgm:t>
        <a:bodyPr/>
        <a:lstStyle/>
        <a:p>
          <a:endParaRPr lang="en-US"/>
        </a:p>
      </dgm:t>
    </dgm:pt>
    <dgm:pt modelId="{C844B67F-8804-4FDA-A056-0A88B7891F27}">
      <dgm:prSet custT="1"/>
      <dgm:spPr>
        <a:solidFill>
          <a:schemeClr val="accent5"/>
        </a:solidFill>
      </dgm:spPr>
      <dgm:t>
        <a:bodyPr/>
        <a:lstStyle/>
        <a:p>
          <a:pPr rtl="0"/>
          <a:r>
            <a:rPr lang="en-US" sz="1600" baseline="0" dirty="0" smtClean="0"/>
            <a:t>What software to deploy?</a:t>
          </a:r>
          <a:endParaRPr lang="en-US" sz="1600" dirty="0"/>
        </a:p>
      </dgm:t>
    </dgm:pt>
    <dgm:pt modelId="{7E0383E5-273C-4410-A852-36508B56067B}" type="sibTrans" cxnId="{02E2DBA8-A4D7-4DCA-B4AC-253D93D03205}">
      <dgm:prSet/>
      <dgm:spPr/>
      <dgm:t>
        <a:bodyPr/>
        <a:lstStyle/>
        <a:p>
          <a:endParaRPr lang="en-US"/>
        </a:p>
      </dgm:t>
    </dgm:pt>
    <dgm:pt modelId="{573FAEDD-6587-4E2F-8C70-A545DBBC561D}" type="parTrans" cxnId="{02E2DBA8-A4D7-4DCA-B4AC-253D93D03205}">
      <dgm:prSet/>
      <dgm:spPr/>
      <dgm:t>
        <a:bodyPr/>
        <a:lstStyle/>
        <a:p>
          <a:endParaRPr lang="en-US"/>
        </a:p>
      </dgm:t>
    </dgm:pt>
    <dgm:pt modelId="{4C09565B-06CE-40A2-9EEF-844244896C84}">
      <dgm:prSet custT="1"/>
      <dgm:spPr>
        <a:solidFill>
          <a:schemeClr val="accent5"/>
        </a:solidFill>
      </dgm:spPr>
      <dgm:t>
        <a:bodyPr/>
        <a:lstStyle/>
        <a:p>
          <a:pPr rtl="0"/>
          <a:r>
            <a:rPr lang="en-US" sz="1600" baseline="0" dirty="0" smtClean="0"/>
            <a:t>Required </a:t>
          </a:r>
          <a:r>
            <a:rPr lang="en-US" sz="1600" baseline="0" dirty="0" err="1" smtClean="0"/>
            <a:t>config</a:t>
          </a:r>
          <a:r>
            <a:rPr lang="en-US" sz="1600" baseline="0" dirty="0" smtClean="0"/>
            <a:t> changes?</a:t>
          </a:r>
          <a:endParaRPr lang="en-US" sz="1600" dirty="0"/>
        </a:p>
      </dgm:t>
    </dgm:pt>
    <dgm:pt modelId="{470C8EC8-B018-4994-BB9D-A95D3F3AAB12}" type="parTrans" cxnId="{BC212A8A-42E9-4A89-A186-F7F2DA0E6761}">
      <dgm:prSet/>
      <dgm:spPr/>
      <dgm:t>
        <a:bodyPr/>
        <a:lstStyle/>
        <a:p>
          <a:endParaRPr lang="en-US"/>
        </a:p>
      </dgm:t>
    </dgm:pt>
    <dgm:pt modelId="{D3FC2E40-E195-40ED-BEFD-43D8D2F15497}" type="sibTrans" cxnId="{BC212A8A-42E9-4A89-A186-F7F2DA0E6761}">
      <dgm:prSet/>
      <dgm:spPr/>
      <dgm:t>
        <a:bodyPr/>
        <a:lstStyle/>
        <a:p>
          <a:endParaRPr lang="en-US"/>
        </a:p>
      </dgm:t>
    </dgm:pt>
    <dgm:pt modelId="{7F80DA7E-0CC8-4D2F-A810-6FD6A56B578F}">
      <dgm:prSet custT="1"/>
      <dgm:spPr>
        <a:solidFill>
          <a:schemeClr val="accent5"/>
        </a:solidFill>
      </dgm:spPr>
      <dgm:t>
        <a:bodyPr/>
        <a:lstStyle/>
        <a:p>
          <a:pPr rtl="0"/>
          <a:r>
            <a:rPr lang="en-US" sz="1600" dirty="0" smtClean="0"/>
            <a:t>New </a:t>
          </a:r>
        </a:p>
        <a:p>
          <a:pPr rtl="0"/>
          <a:r>
            <a:rPr lang="en-US" sz="1600" dirty="0" smtClean="0"/>
            <a:t>plan every release</a:t>
          </a:r>
          <a:endParaRPr lang="en-US" sz="1600" dirty="0"/>
        </a:p>
      </dgm:t>
    </dgm:pt>
    <dgm:pt modelId="{17D0D120-0190-4944-A66D-86D2989C2A82}" type="parTrans" cxnId="{C7D7CED0-3D76-4239-BB48-347D38C89CAB}">
      <dgm:prSet/>
      <dgm:spPr/>
      <dgm:t>
        <a:bodyPr/>
        <a:lstStyle/>
        <a:p>
          <a:endParaRPr lang="en-US"/>
        </a:p>
      </dgm:t>
    </dgm:pt>
    <dgm:pt modelId="{04B1FA7B-0006-4711-97C3-830E2298D3CC}" type="sibTrans" cxnId="{C7D7CED0-3D76-4239-BB48-347D38C89CAB}">
      <dgm:prSet/>
      <dgm:spPr/>
      <dgm:t>
        <a:bodyPr/>
        <a:lstStyle/>
        <a:p>
          <a:endParaRPr lang="en-US"/>
        </a:p>
      </dgm:t>
    </dgm:pt>
    <dgm:pt modelId="{166C5AF2-771A-4DE7-81C4-18CAEBC00847}" type="pres">
      <dgm:prSet presAssocID="{F0C2D09E-C6F8-42ED-8CC8-7A99C71ED296}" presName="Name0" presStyleCnt="0">
        <dgm:presLayoutVars>
          <dgm:chPref val="1"/>
          <dgm:dir/>
          <dgm:animOne val="branch"/>
          <dgm:animLvl val="lvl"/>
          <dgm:resizeHandles/>
        </dgm:presLayoutVars>
      </dgm:prSet>
      <dgm:spPr/>
      <dgm:t>
        <a:bodyPr/>
        <a:lstStyle/>
        <a:p>
          <a:endParaRPr lang="en-US"/>
        </a:p>
      </dgm:t>
    </dgm:pt>
    <dgm:pt modelId="{3DF32146-2CF8-40AB-9AC7-66B974DD6D5D}" type="pres">
      <dgm:prSet presAssocID="{B613F168-D285-4905-B3BC-847405C40D81}" presName="vertOne" presStyleCnt="0"/>
      <dgm:spPr/>
    </dgm:pt>
    <dgm:pt modelId="{FCE92FC2-F1B6-4C62-B216-6699279337B4}" type="pres">
      <dgm:prSet presAssocID="{B613F168-D285-4905-B3BC-847405C40D81}" presName="txOne" presStyleLbl="node0" presStyleIdx="0" presStyleCnt="1">
        <dgm:presLayoutVars>
          <dgm:chPref val="3"/>
        </dgm:presLayoutVars>
      </dgm:prSet>
      <dgm:spPr/>
      <dgm:t>
        <a:bodyPr/>
        <a:lstStyle/>
        <a:p>
          <a:endParaRPr lang="en-US"/>
        </a:p>
      </dgm:t>
    </dgm:pt>
    <dgm:pt modelId="{D40A419B-4BE0-44E8-9F13-06BE18243EDE}" type="pres">
      <dgm:prSet presAssocID="{B613F168-D285-4905-B3BC-847405C40D81}" presName="parTransOne" presStyleCnt="0"/>
      <dgm:spPr/>
    </dgm:pt>
    <dgm:pt modelId="{FF23D148-EB76-464C-8F21-02A4A748E6E3}" type="pres">
      <dgm:prSet presAssocID="{B613F168-D285-4905-B3BC-847405C40D81}" presName="horzOne" presStyleCnt="0"/>
      <dgm:spPr/>
    </dgm:pt>
    <dgm:pt modelId="{D884BB2D-8BD3-44EF-B25C-57E32095411A}" type="pres">
      <dgm:prSet presAssocID="{707D254E-5B36-4AD0-9819-67507C3B7BD4}" presName="vertTwo" presStyleCnt="0"/>
      <dgm:spPr/>
    </dgm:pt>
    <dgm:pt modelId="{DB11D4B8-607D-4DAE-AE9E-5EEB052CCD5A}" type="pres">
      <dgm:prSet presAssocID="{707D254E-5B36-4AD0-9819-67507C3B7BD4}" presName="txTwo" presStyleLbl="node2" presStyleIdx="0" presStyleCnt="2">
        <dgm:presLayoutVars>
          <dgm:chPref val="3"/>
        </dgm:presLayoutVars>
      </dgm:prSet>
      <dgm:spPr/>
      <dgm:t>
        <a:bodyPr/>
        <a:lstStyle/>
        <a:p>
          <a:endParaRPr lang="en-US"/>
        </a:p>
      </dgm:t>
    </dgm:pt>
    <dgm:pt modelId="{E7D12B16-6260-4AE4-AB27-5591104D3813}" type="pres">
      <dgm:prSet presAssocID="{707D254E-5B36-4AD0-9819-67507C3B7BD4}" presName="parTransTwo" presStyleCnt="0"/>
      <dgm:spPr/>
    </dgm:pt>
    <dgm:pt modelId="{58DB22B1-E215-45C0-90A2-0EADF55902F3}" type="pres">
      <dgm:prSet presAssocID="{707D254E-5B36-4AD0-9819-67507C3B7BD4}" presName="horzTwo" presStyleCnt="0"/>
      <dgm:spPr/>
    </dgm:pt>
    <dgm:pt modelId="{31CA6F11-D793-41F8-8FA1-DC0AC0B95222}" type="pres">
      <dgm:prSet presAssocID="{7F80DA7E-0CC8-4D2F-A810-6FD6A56B578F}" presName="vertThree" presStyleCnt="0"/>
      <dgm:spPr/>
    </dgm:pt>
    <dgm:pt modelId="{3080A112-045E-4D7B-A757-A2501DE5F3AD}" type="pres">
      <dgm:prSet presAssocID="{7F80DA7E-0CC8-4D2F-A810-6FD6A56B578F}" presName="txThree" presStyleLbl="node3" presStyleIdx="0" presStyleCnt="8" custScaleX="124742">
        <dgm:presLayoutVars>
          <dgm:chPref val="3"/>
        </dgm:presLayoutVars>
      </dgm:prSet>
      <dgm:spPr/>
      <dgm:t>
        <a:bodyPr/>
        <a:lstStyle/>
        <a:p>
          <a:endParaRPr lang="en-US"/>
        </a:p>
      </dgm:t>
    </dgm:pt>
    <dgm:pt modelId="{82EA6387-DEC8-4268-AE05-FED559CE220C}" type="pres">
      <dgm:prSet presAssocID="{7F80DA7E-0CC8-4D2F-A810-6FD6A56B578F}" presName="horzThree" presStyleCnt="0"/>
      <dgm:spPr/>
    </dgm:pt>
    <dgm:pt modelId="{656059D8-4A9F-42F6-8576-79604583DB33}" type="pres">
      <dgm:prSet presAssocID="{04B1FA7B-0006-4711-97C3-830E2298D3CC}" presName="sibSpaceThree" presStyleCnt="0"/>
      <dgm:spPr/>
    </dgm:pt>
    <dgm:pt modelId="{CB75BAC3-7F56-4BC9-A433-3782C9DAB8A7}" type="pres">
      <dgm:prSet presAssocID="{4C09565B-06CE-40A2-9EEF-844244896C84}" presName="vertThree" presStyleCnt="0"/>
      <dgm:spPr/>
    </dgm:pt>
    <dgm:pt modelId="{CFA1536E-9F86-4EBD-A8B4-60022070C557}" type="pres">
      <dgm:prSet presAssocID="{4C09565B-06CE-40A2-9EEF-844244896C84}" presName="txThree" presStyleLbl="node3" presStyleIdx="1" presStyleCnt="8" custScaleX="113041">
        <dgm:presLayoutVars>
          <dgm:chPref val="3"/>
        </dgm:presLayoutVars>
      </dgm:prSet>
      <dgm:spPr/>
      <dgm:t>
        <a:bodyPr/>
        <a:lstStyle/>
        <a:p>
          <a:endParaRPr lang="en-US"/>
        </a:p>
      </dgm:t>
    </dgm:pt>
    <dgm:pt modelId="{2EDD5C5F-5715-4150-B0FA-804EE4918388}" type="pres">
      <dgm:prSet presAssocID="{4C09565B-06CE-40A2-9EEF-844244896C84}" presName="horzThree" presStyleCnt="0"/>
      <dgm:spPr/>
    </dgm:pt>
    <dgm:pt modelId="{3578BD39-5AD2-42B5-A5C5-00D4072EC8ED}" type="pres">
      <dgm:prSet presAssocID="{D3FC2E40-E195-40ED-BEFD-43D8D2F15497}" presName="sibSpaceThree" presStyleCnt="0"/>
      <dgm:spPr/>
    </dgm:pt>
    <dgm:pt modelId="{A3E1CF00-4B25-4AE7-A665-C6252CC525B5}" type="pres">
      <dgm:prSet presAssocID="{C844B67F-8804-4FDA-A056-0A88B7891F27}" presName="vertThree" presStyleCnt="0"/>
      <dgm:spPr/>
    </dgm:pt>
    <dgm:pt modelId="{C28FED14-D8E8-44EA-9C26-DDD0062034EF}" type="pres">
      <dgm:prSet presAssocID="{C844B67F-8804-4FDA-A056-0A88B7891F27}" presName="txThree" presStyleLbl="node3" presStyleIdx="2" presStyleCnt="8" custScaleX="103273">
        <dgm:presLayoutVars>
          <dgm:chPref val="3"/>
        </dgm:presLayoutVars>
      </dgm:prSet>
      <dgm:spPr/>
      <dgm:t>
        <a:bodyPr/>
        <a:lstStyle/>
        <a:p>
          <a:endParaRPr lang="en-US"/>
        </a:p>
      </dgm:t>
    </dgm:pt>
    <dgm:pt modelId="{9926B776-2DD5-4F58-B197-D0874DA825E0}" type="pres">
      <dgm:prSet presAssocID="{C844B67F-8804-4FDA-A056-0A88B7891F27}" presName="horzThree" presStyleCnt="0"/>
      <dgm:spPr/>
    </dgm:pt>
    <dgm:pt modelId="{3FAFE6D2-6B4B-4A31-9A9A-771AAFC248CB}" type="pres">
      <dgm:prSet presAssocID="{7E0383E5-273C-4410-A852-36508B56067B}" presName="sibSpaceThree" presStyleCnt="0"/>
      <dgm:spPr/>
    </dgm:pt>
    <dgm:pt modelId="{483219AC-1F56-4DD0-88B3-539C219D0B01}" type="pres">
      <dgm:prSet presAssocID="{15300F9B-28D8-4708-9CEC-F95250AFBF15}" presName="vertThree" presStyleCnt="0"/>
      <dgm:spPr/>
    </dgm:pt>
    <dgm:pt modelId="{8733DA45-4511-4F78-AB6C-8520838A3B8A}" type="pres">
      <dgm:prSet presAssocID="{15300F9B-28D8-4708-9CEC-F95250AFBF15}" presName="txThree" presStyleLbl="node3" presStyleIdx="3" presStyleCnt="8">
        <dgm:presLayoutVars>
          <dgm:chPref val="3"/>
        </dgm:presLayoutVars>
      </dgm:prSet>
      <dgm:spPr/>
      <dgm:t>
        <a:bodyPr/>
        <a:lstStyle/>
        <a:p>
          <a:endParaRPr lang="en-US"/>
        </a:p>
      </dgm:t>
    </dgm:pt>
    <dgm:pt modelId="{71D80E1A-6A02-460F-97A7-005DC9CB3D9F}" type="pres">
      <dgm:prSet presAssocID="{15300F9B-28D8-4708-9CEC-F95250AFBF15}" presName="horzThree" presStyleCnt="0"/>
      <dgm:spPr/>
    </dgm:pt>
    <dgm:pt modelId="{DC9B67B1-FE85-4C51-B57A-BB29DB127892}" type="pres">
      <dgm:prSet presAssocID="{F395A22C-7030-45E6-B673-4FA73EACBB55}" presName="sibSpaceThree" presStyleCnt="0"/>
      <dgm:spPr/>
    </dgm:pt>
    <dgm:pt modelId="{7B19290A-2D5B-46BA-8E55-1EF94DDF8F62}" type="pres">
      <dgm:prSet presAssocID="{A5D05827-83FD-402B-A573-57885F93166E}" presName="vertThree" presStyleCnt="0"/>
      <dgm:spPr/>
    </dgm:pt>
    <dgm:pt modelId="{A44D9863-6FC9-4D7D-ABC0-AC8B57F8DD23}" type="pres">
      <dgm:prSet presAssocID="{A5D05827-83FD-402B-A573-57885F93166E}" presName="txThree" presStyleLbl="node3" presStyleIdx="4" presStyleCnt="8">
        <dgm:presLayoutVars>
          <dgm:chPref val="3"/>
        </dgm:presLayoutVars>
      </dgm:prSet>
      <dgm:spPr/>
      <dgm:t>
        <a:bodyPr/>
        <a:lstStyle/>
        <a:p>
          <a:endParaRPr lang="en-US"/>
        </a:p>
      </dgm:t>
    </dgm:pt>
    <dgm:pt modelId="{DD3F2544-6526-4DA7-85C9-744FD94D672E}" type="pres">
      <dgm:prSet presAssocID="{A5D05827-83FD-402B-A573-57885F93166E}" presName="horzThree" presStyleCnt="0"/>
      <dgm:spPr/>
    </dgm:pt>
    <dgm:pt modelId="{DB1F9488-8B6A-4C07-968E-77F6AFC43E0C}" type="pres">
      <dgm:prSet presAssocID="{BCDB5541-5787-4863-8744-D1A5479B4683}" presName="sibSpaceThree" presStyleCnt="0"/>
      <dgm:spPr/>
    </dgm:pt>
    <dgm:pt modelId="{7323544A-48D4-4516-93C4-6CAC31E67277}" type="pres">
      <dgm:prSet presAssocID="{EEA4DEAC-4483-42AD-82DA-B0D67AC523E9}" presName="vertThree" presStyleCnt="0"/>
      <dgm:spPr/>
    </dgm:pt>
    <dgm:pt modelId="{F3179C61-32C4-47CB-803B-B98A17495F93}" type="pres">
      <dgm:prSet presAssocID="{EEA4DEAC-4483-42AD-82DA-B0D67AC523E9}" presName="txThree" presStyleLbl="node3" presStyleIdx="5" presStyleCnt="8" custScaleX="127358">
        <dgm:presLayoutVars>
          <dgm:chPref val="3"/>
        </dgm:presLayoutVars>
      </dgm:prSet>
      <dgm:spPr/>
      <dgm:t>
        <a:bodyPr/>
        <a:lstStyle/>
        <a:p>
          <a:endParaRPr lang="en-US"/>
        </a:p>
      </dgm:t>
    </dgm:pt>
    <dgm:pt modelId="{02AB3717-A134-48D7-96EF-13BE63C72B2D}" type="pres">
      <dgm:prSet presAssocID="{EEA4DEAC-4483-42AD-82DA-B0D67AC523E9}" presName="horzThree" presStyleCnt="0"/>
      <dgm:spPr/>
    </dgm:pt>
    <dgm:pt modelId="{0A343922-C40E-4AD6-9ACF-31DC81885962}" type="pres">
      <dgm:prSet presAssocID="{E734A847-4A7F-44A9-BA92-8B6B3A82F700}" presName="sibSpaceTwo" presStyleCnt="0"/>
      <dgm:spPr/>
    </dgm:pt>
    <dgm:pt modelId="{FC8282DC-195D-407A-8685-77370271D1A7}" type="pres">
      <dgm:prSet presAssocID="{65F0CBF7-4EEB-4943-9975-1C05BC5F320E}" presName="vertTwo" presStyleCnt="0"/>
      <dgm:spPr/>
    </dgm:pt>
    <dgm:pt modelId="{875B9683-98A8-4417-839C-0C4AD3860969}" type="pres">
      <dgm:prSet presAssocID="{65F0CBF7-4EEB-4943-9975-1C05BC5F320E}" presName="txTwo" presStyleLbl="node2" presStyleIdx="1" presStyleCnt="2">
        <dgm:presLayoutVars>
          <dgm:chPref val="3"/>
        </dgm:presLayoutVars>
      </dgm:prSet>
      <dgm:spPr/>
      <dgm:t>
        <a:bodyPr/>
        <a:lstStyle/>
        <a:p>
          <a:endParaRPr lang="en-US"/>
        </a:p>
      </dgm:t>
    </dgm:pt>
    <dgm:pt modelId="{252FB354-8919-4C2E-A79B-B6B2D1BB2D43}" type="pres">
      <dgm:prSet presAssocID="{65F0CBF7-4EEB-4943-9975-1C05BC5F320E}" presName="parTransTwo" presStyleCnt="0"/>
      <dgm:spPr/>
    </dgm:pt>
    <dgm:pt modelId="{E5AC1834-0FB4-40C8-ACD5-DC14FFA100D4}" type="pres">
      <dgm:prSet presAssocID="{65F0CBF7-4EEB-4943-9975-1C05BC5F320E}" presName="horzTwo" presStyleCnt="0"/>
      <dgm:spPr/>
    </dgm:pt>
    <dgm:pt modelId="{55772D00-3FCB-4D2F-891F-8DB300E4F465}" type="pres">
      <dgm:prSet presAssocID="{62878E5A-2C13-4AD6-A5B9-7074D7B6D51D}" presName="vertThree" presStyleCnt="0"/>
      <dgm:spPr/>
    </dgm:pt>
    <dgm:pt modelId="{F03148F7-5057-4A83-9288-798CBDFC3602}" type="pres">
      <dgm:prSet presAssocID="{62878E5A-2C13-4AD6-A5B9-7074D7B6D51D}" presName="txThree" presStyleLbl="node3" presStyleIdx="6" presStyleCnt="8">
        <dgm:presLayoutVars>
          <dgm:chPref val="3"/>
        </dgm:presLayoutVars>
      </dgm:prSet>
      <dgm:spPr/>
      <dgm:t>
        <a:bodyPr/>
        <a:lstStyle/>
        <a:p>
          <a:endParaRPr lang="en-US"/>
        </a:p>
      </dgm:t>
    </dgm:pt>
    <dgm:pt modelId="{1C3953A6-8D78-4C05-AE90-10EE16B479C2}" type="pres">
      <dgm:prSet presAssocID="{62878E5A-2C13-4AD6-A5B9-7074D7B6D51D}" presName="horzThree" presStyleCnt="0"/>
      <dgm:spPr/>
    </dgm:pt>
    <dgm:pt modelId="{1F7C77E6-AA47-4D06-800D-2B38F8A0E952}" type="pres">
      <dgm:prSet presAssocID="{1CD21ECE-F496-4D8D-9B24-F56F76527ED2}" presName="sibSpaceThree" presStyleCnt="0"/>
      <dgm:spPr/>
    </dgm:pt>
    <dgm:pt modelId="{6DC240A1-9CFA-40F4-81FB-BCD3333C9004}" type="pres">
      <dgm:prSet presAssocID="{E9663B9C-A803-4C25-A365-50A275C56D58}" presName="vertThree" presStyleCnt="0"/>
      <dgm:spPr/>
    </dgm:pt>
    <dgm:pt modelId="{27A49B19-05C6-4321-A35B-66D33E812264}" type="pres">
      <dgm:prSet presAssocID="{E9663B9C-A803-4C25-A365-50A275C56D58}" presName="txThree" presStyleLbl="node3" presStyleIdx="7" presStyleCnt="8">
        <dgm:presLayoutVars>
          <dgm:chPref val="3"/>
        </dgm:presLayoutVars>
      </dgm:prSet>
      <dgm:spPr/>
      <dgm:t>
        <a:bodyPr/>
        <a:lstStyle/>
        <a:p>
          <a:endParaRPr lang="en-US"/>
        </a:p>
      </dgm:t>
    </dgm:pt>
    <dgm:pt modelId="{23BE6A6A-D789-45A1-9ABD-B98418A76886}" type="pres">
      <dgm:prSet presAssocID="{E9663B9C-A803-4C25-A365-50A275C56D58}" presName="horzThree" presStyleCnt="0"/>
      <dgm:spPr/>
    </dgm:pt>
  </dgm:ptLst>
  <dgm:cxnLst>
    <dgm:cxn modelId="{FDAC0101-2192-4C18-8625-6F9232151BA4}" type="presOf" srcId="{C844B67F-8804-4FDA-A056-0A88B7891F27}" destId="{C28FED14-D8E8-44EA-9C26-DDD0062034EF}" srcOrd="0" destOrd="0" presId="urn:microsoft.com/office/officeart/2005/8/layout/hierarchy4"/>
    <dgm:cxn modelId="{C7D7CED0-3D76-4239-BB48-347D38C89CAB}" srcId="{707D254E-5B36-4AD0-9819-67507C3B7BD4}" destId="{7F80DA7E-0CC8-4D2F-A810-6FD6A56B578F}" srcOrd="0" destOrd="0" parTransId="{17D0D120-0190-4944-A66D-86D2989C2A82}" sibTransId="{04B1FA7B-0006-4711-97C3-830E2298D3CC}"/>
    <dgm:cxn modelId="{BC212A8A-42E9-4A89-A186-F7F2DA0E6761}" srcId="{707D254E-5B36-4AD0-9819-67507C3B7BD4}" destId="{4C09565B-06CE-40A2-9EEF-844244896C84}" srcOrd="1" destOrd="0" parTransId="{470C8EC8-B018-4994-BB9D-A95D3F3AAB12}" sibTransId="{D3FC2E40-E195-40ED-BEFD-43D8D2F15497}"/>
    <dgm:cxn modelId="{E3756810-23B1-4951-9CF4-B67EC54DE16B}" type="presOf" srcId="{A5D05827-83FD-402B-A573-57885F93166E}" destId="{A44D9863-6FC9-4D7D-ABC0-AC8B57F8DD23}" srcOrd="0" destOrd="0" presId="urn:microsoft.com/office/officeart/2005/8/layout/hierarchy4"/>
    <dgm:cxn modelId="{CD508193-61B0-47BD-A5A6-B5D27DE44B89}" type="presOf" srcId="{4C09565B-06CE-40A2-9EEF-844244896C84}" destId="{CFA1536E-9F86-4EBD-A8B4-60022070C557}" srcOrd="0" destOrd="0" presId="urn:microsoft.com/office/officeart/2005/8/layout/hierarchy4"/>
    <dgm:cxn modelId="{02E2DBA8-A4D7-4DCA-B4AC-253D93D03205}" srcId="{707D254E-5B36-4AD0-9819-67507C3B7BD4}" destId="{C844B67F-8804-4FDA-A056-0A88B7891F27}" srcOrd="2" destOrd="0" parTransId="{573FAEDD-6587-4E2F-8C70-A545DBBC561D}" sibTransId="{7E0383E5-273C-4410-A852-36508B56067B}"/>
    <dgm:cxn modelId="{C8B2122D-4205-45E3-819B-C752685DCDD4}" srcId="{707D254E-5B36-4AD0-9819-67507C3B7BD4}" destId="{A5D05827-83FD-402B-A573-57885F93166E}" srcOrd="4" destOrd="0" parTransId="{FACD670A-EA42-4AC1-9300-5A19CC491A13}" sibTransId="{BCDB5541-5787-4863-8744-D1A5479B4683}"/>
    <dgm:cxn modelId="{8F55499D-020A-4CDF-9C84-E9D92029A9DB}" type="presOf" srcId="{7F80DA7E-0CC8-4D2F-A810-6FD6A56B578F}" destId="{3080A112-045E-4D7B-A757-A2501DE5F3AD}" srcOrd="0" destOrd="0" presId="urn:microsoft.com/office/officeart/2005/8/layout/hierarchy4"/>
    <dgm:cxn modelId="{5A982F64-96CE-458F-8234-840035702428}" srcId="{65F0CBF7-4EEB-4943-9975-1C05BC5F320E}" destId="{62878E5A-2C13-4AD6-A5B9-7074D7B6D51D}" srcOrd="0" destOrd="0" parTransId="{A0F1F8F7-7842-4E78-A871-EC421AEA4F6B}" sibTransId="{1CD21ECE-F496-4D8D-9B24-F56F76527ED2}"/>
    <dgm:cxn modelId="{20320708-F89B-4D78-BADB-ED73AE348D5F}" type="presOf" srcId="{707D254E-5B36-4AD0-9819-67507C3B7BD4}" destId="{DB11D4B8-607D-4DAE-AE9E-5EEB052CCD5A}" srcOrd="0" destOrd="0" presId="urn:microsoft.com/office/officeart/2005/8/layout/hierarchy4"/>
    <dgm:cxn modelId="{3926045F-A403-4596-94BE-26EB00459E9B}" type="presOf" srcId="{EEA4DEAC-4483-42AD-82DA-B0D67AC523E9}" destId="{F3179C61-32C4-47CB-803B-B98A17495F93}" srcOrd="0" destOrd="0" presId="urn:microsoft.com/office/officeart/2005/8/layout/hierarchy4"/>
    <dgm:cxn modelId="{60B94992-0A91-4A41-B5AB-5B67997B9090}" srcId="{707D254E-5B36-4AD0-9819-67507C3B7BD4}" destId="{15300F9B-28D8-4708-9CEC-F95250AFBF15}" srcOrd="3" destOrd="0" parTransId="{BC2535AB-4E4D-449F-A6D0-D908AD053749}" sibTransId="{F395A22C-7030-45E6-B673-4FA73EACBB55}"/>
    <dgm:cxn modelId="{A9BA04D1-5ECB-48DE-9FC0-F1051C8F572C}" srcId="{65F0CBF7-4EEB-4943-9975-1C05BC5F320E}" destId="{E9663B9C-A803-4C25-A365-50A275C56D58}" srcOrd="1" destOrd="0" parTransId="{1997B338-CC4F-4CDE-949F-2FDECEA2ACE1}" sibTransId="{DD863921-4EA9-446C-988A-14D2337F7181}"/>
    <dgm:cxn modelId="{1D8E23BC-B362-4077-A8EE-89CE0B352454}" srcId="{F0C2D09E-C6F8-42ED-8CC8-7A99C71ED296}" destId="{B613F168-D285-4905-B3BC-847405C40D81}" srcOrd="0" destOrd="0" parTransId="{D3C5F031-1350-432E-B036-4D1494C5B77F}" sibTransId="{BC3A7E2C-BAB3-42C5-ABBE-26B17F1D52FB}"/>
    <dgm:cxn modelId="{387680C2-D4AF-4DA1-B9B4-FF3785A66A83}" type="presOf" srcId="{F0C2D09E-C6F8-42ED-8CC8-7A99C71ED296}" destId="{166C5AF2-771A-4DE7-81C4-18CAEBC00847}" srcOrd="0" destOrd="0" presId="urn:microsoft.com/office/officeart/2005/8/layout/hierarchy4"/>
    <dgm:cxn modelId="{13D21022-10A5-4CF0-AEBD-4D082F92A6D6}" type="presOf" srcId="{15300F9B-28D8-4708-9CEC-F95250AFBF15}" destId="{8733DA45-4511-4F78-AB6C-8520838A3B8A}" srcOrd="0" destOrd="0" presId="urn:microsoft.com/office/officeart/2005/8/layout/hierarchy4"/>
    <dgm:cxn modelId="{6681AC99-FED7-4586-9D38-C408C8DE8109}" srcId="{B613F168-D285-4905-B3BC-847405C40D81}" destId="{65F0CBF7-4EEB-4943-9975-1C05BC5F320E}" srcOrd="1" destOrd="0" parTransId="{0E814974-ADF5-459D-8A72-399019F9FD22}" sibTransId="{D697DA53-59D1-4BE8-A85A-995B8D847032}"/>
    <dgm:cxn modelId="{B9D30CF1-C1FF-41DE-A2DA-95DAAC3A84F8}" srcId="{707D254E-5B36-4AD0-9819-67507C3B7BD4}" destId="{EEA4DEAC-4483-42AD-82DA-B0D67AC523E9}" srcOrd="5" destOrd="0" parTransId="{8CB2FF5A-CFA7-4523-8D98-AEFE9BD9CFFB}" sibTransId="{E30AB6EB-8078-482F-882A-5FBDA21DC935}"/>
    <dgm:cxn modelId="{20160341-C666-48F8-BA15-A3D91AB8B7EC}" type="presOf" srcId="{62878E5A-2C13-4AD6-A5B9-7074D7B6D51D}" destId="{F03148F7-5057-4A83-9288-798CBDFC3602}" srcOrd="0" destOrd="0" presId="urn:microsoft.com/office/officeart/2005/8/layout/hierarchy4"/>
    <dgm:cxn modelId="{AACE23CD-2D4D-40FC-9D1D-68BD4CBA0AA2}" srcId="{B613F168-D285-4905-B3BC-847405C40D81}" destId="{707D254E-5B36-4AD0-9819-67507C3B7BD4}" srcOrd="0" destOrd="0" parTransId="{7FB7EADA-5278-4E7A-9CEA-7661B824C06A}" sibTransId="{E734A847-4A7F-44A9-BA92-8B6B3A82F700}"/>
    <dgm:cxn modelId="{7272DE8B-0808-4FC8-9693-0BFDC6F05682}" type="presOf" srcId="{65F0CBF7-4EEB-4943-9975-1C05BC5F320E}" destId="{875B9683-98A8-4417-839C-0C4AD3860969}" srcOrd="0" destOrd="0" presId="urn:microsoft.com/office/officeart/2005/8/layout/hierarchy4"/>
    <dgm:cxn modelId="{2E1FF9D6-2B25-4F51-8A89-2A1994240E65}" type="presOf" srcId="{E9663B9C-A803-4C25-A365-50A275C56D58}" destId="{27A49B19-05C6-4321-A35B-66D33E812264}" srcOrd="0" destOrd="0" presId="urn:microsoft.com/office/officeart/2005/8/layout/hierarchy4"/>
    <dgm:cxn modelId="{63E20F8F-D248-4CBC-AB83-E8B378B888BB}" type="presOf" srcId="{B613F168-D285-4905-B3BC-847405C40D81}" destId="{FCE92FC2-F1B6-4C62-B216-6699279337B4}" srcOrd="0" destOrd="0" presId="urn:microsoft.com/office/officeart/2005/8/layout/hierarchy4"/>
    <dgm:cxn modelId="{733E5EF3-D988-480A-A133-8DDF215E47C9}" type="presParOf" srcId="{166C5AF2-771A-4DE7-81C4-18CAEBC00847}" destId="{3DF32146-2CF8-40AB-9AC7-66B974DD6D5D}" srcOrd="0" destOrd="0" presId="urn:microsoft.com/office/officeart/2005/8/layout/hierarchy4"/>
    <dgm:cxn modelId="{F86C59A7-B50E-4714-BFFD-9F4CABBE5D92}" type="presParOf" srcId="{3DF32146-2CF8-40AB-9AC7-66B974DD6D5D}" destId="{FCE92FC2-F1B6-4C62-B216-6699279337B4}" srcOrd="0" destOrd="0" presId="urn:microsoft.com/office/officeart/2005/8/layout/hierarchy4"/>
    <dgm:cxn modelId="{45F70670-D103-4DE1-BB92-2ECCD59415E1}" type="presParOf" srcId="{3DF32146-2CF8-40AB-9AC7-66B974DD6D5D}" destId="{D40A419B-4BE0-44E8-9F13-06BE18243EDE}" srcOrd="1" destOrd="0" presId="urn:microsoft.com/office/officeart/2005/8/layout/hierarchy4"/>
    <dgm:cxn modelId="{83C4E58F-ACE6-4EF0-88A5-A5604B64A5DB}" type="presParOf" srcId="{3DF32146-2CF8-40AB-9AC7-66B974DD6D5D}" destId="{FF23D148-EB76-464C-8F21-02A4A748E6E3}" srcOrd="2" destOrd="0" presId="urn:microsoft.com/office/officeart/2005/8/layout/hierarchy4"/>
    <dgm:cxn modelId="{9855DFEB-29D1-4BBF-B4DC-4D26CB65E836}" type="presParOf" srcId="{FF23D148-EB76-464C-8F21-02A4A748E6E3}" destId="{D884BB2D-8BD3-44EF-B25C-57E32095411A}" srcOrd="0" destOrd="0" presId="urn:microsoft.com/office/officeart/2005/8/layout/hierarchy4"/>
    <dgm:cxn modelId="{239C29B2-B7D9-4ECC-94D6-0DDF9E78968C}" type="presParOf" srcId="{D884BB2D-8BD3-44EF-B25C-57E32095411A}" destId="{DB11D4B8-607D-4DAE-AE9E-5EEB052CCD5A}" srcOrd="0" destOrd="0" presId="urn:microsoft.com/office/officeart/2005/8/layout/hierarchy4"/>
    <dgm:cxn modelId="{8694422C-0C00-44B5-8CF5-ECBC4FBFCB21}" type="presParOf" srcId="{D884BB2D-8BD3-44EF-B25C-57E32095411A}" destId="{E7D12B16-6260-4AE4-AB27-5591104D3813}" srcOrd="1" destOrd="0" presId="urn:microsoft.com/office/officeart/2005/8/layout/hierarchy4"/>
    <dgm:cxn modelId="{3C851017-09E4-4E6F-A1ED-B692EDB0B7D9}" type="presParOf" srcId="{D884BB2D-8BD3-44EF-B25C-57E32095411A}" destId="{58DB22B1-E215-45C0-90A2-0EADF55902F3}" srcOrd="2" destOrd="0" presId="urn:microsoft.com/office/officeart/2005/8/layout/hierarchy4"/>
    <dgm:cxn modelId="{E91F3038-3C21-42E2-A877-86590474F97B}" type="presParOf" srcId="{58DB22B1-E215-45C0-90A2-0EADF55902F3}" destId="{31CA6F11-D793-41F8-8FA1-DC0AC0B95222}" srcOrd="0" destOrd="0" presId="urn:microsoft.com/office/officeart/2005/8/layout/hierarchy4"/>
    <dgm:cxn modelId="{D24A7FC4-96EA-4394-BCA1-8C68EDBF2D6A}" type="presParOf" srcId="{31CA6F11-D793-41F8-8FA1-DC0AC0B95222}" destId="{3080A112-045E-4D7B-A757-A2501DE5F3AD}" srcOrd="0" destOrd="0" presId="urn:microsoft.com/office/officeart/2005/8/layout/hierarchy4"/>
    <dgm:cxn modelId="{DB92D50D-29E4-4B39-A2DA-557CB86CB3E4}" type="presParOf" srcId="{31CA6F11-D793-41F8-8FA1-DC0AC0B95222}" destId="{82EA6387-DEC8-4268-AE05-FED559CE220C}" srcOrd="1" destOrd="0" presId="urn:microsoft.com/office/officeart/2005/8/layout/hierarchy4"/>
    <dgm:cxn modelId="{723736DD-2513-4A01-A078-0B406BBD177C}" type="presParOf" srcId="{58DB22B1-E215-45C0-90A2-0EADF55902F3}" destId="{656059D8-4A9F-42F6-8576-79604583DB33}" srcOrd="1" destOrd="0" presId="urn:microsoft.com/office/officeart/2005/8/layout/hierarchy4"/>
    <dgm:cxn modelId="{B29156F1-A2D7-46E8-95A0-88CCDB0A41DC}" type="presParOf" srcId="{58DB22B1-E215-45C0-90A2-0EADF55902F3}" destId="{CB75BAC3-7F56-4BC9-A433-3782C9DAB8A7}" srcOrd="2" destOrd="0" presId="urn:microsoft.com/office/officeart/2005/8/layout/hierarchy4"/>
    <dgm:cxn modelId="{B19699E5-48AE-4E99-B043-ABC8F34B5A26}" type="presParOf" srcId="{CB75BAC3-7F56-4BC9-A433-3782C9DAB8A7}" destId="{CFA1536E-9F86-4EBD-A8B4-60022070C557}" srcOrd="0" destOrd="0" presId="urn:microsoft.com/office/officeart/2005/8/layout/hierarchy4"/>
    <dgm:cxn modelId="{60209528-E8BA-4A39-957E-D3BAFF4DD5C6}" type="presParOf" srcId="{CB75BAC3-7F56-4BC9-A433-3782C9DAB8A7}" destId="{2EDD5C5F-5715-4150-B0FA-804EE4918388}" srcOrd="1" destOrd="0" presId="urn:microsoft.com/office/officeart/2005/8/layout/hierarchy4"/>
    <dgm:cxn modelId="{74BDAD98-828B-4C13-9392-E5707573F273}" type="presParOf" srcId="{58DB22B1-E215-45C0-90A2-0EADF55902F3}" destId="{3578BD39-5AD2-42B5-A5C5-00D4072EC8ED}" srcOrd="3" destOrd="0" presId="urn:microsoft.com/office/officeart/2005/8/layout/hierarchy4"/>
    <dgm:cxn modelId="{7B8250EF-35C9-4BCC-90D2-AC55445B549A}" type="presParOf" srcId="{58DB22B1-E215-45C0-90A2-0EADF55902F3}" destId="{A3E1CF00-4B25-4AE7-A665-C6252CC525B5}" srcOrd="4" destOrd="0" presId="urn:microsoft.com/office/officeart/2005/8/layout/hierarchy4"/>
    <dgm:cxn modelId="{856FD519-0899-45FA-9B0B-AE2C1412B714}" type="presParOf" srcId="{A3E1CF00-4B25-4AE7-A665-C6252CC525B5}" destId="{C28FED14-D8E8-44EA-9C26-DDD0062034EF}" srcOrd="0" destOrd="0" presId="urn:microsoft.com/office/officeart/2005/8/layout/hierarchy4"/>
    <dgm:cxn modelId="{75FD2CE4-34F6-47DE-BCF6-8AB49F103777}" type="presParOf" srcId="{A3E1CF00-4B25-4AE7-A665-C6252CC525B5}" destId="{9926B776-2DD5-4F58-B197-D0874DA825E0}" srcOrd="1" destOrd="0" presId="urn:microsoft.com/office/officeart/2005/8/layout/hierarchy4"/>
    <dgm:cxn modelId="{49F89182-3D77-4CD3-BBDE-A99E6D86B65A}" type="presParOf" srcId="{58DB22B1-E215-45C0-90A2-0EADF55902F3}" destId="{3FAFE6D2-6B4B-4A31-9A9A-771AAFC248CB}" srcOrd="5" destOrd="0" presId="urn:microsoft.com/office/officeart/2005/8/layout/hierarchy4"/>
    <dgm:cxn modelId="{31C31057-C370-4B56-8FF8-44B9A270DCEE}" type="presParOf" srcId="{58DB22B1-E215-45C0-90A2-0EADF55902F3}" destId="{483219AC-1F56-4DD0-88B3-539C219D0B01}" srcOrd="6" destOrd="0" presId="urn:microsoft.com/office/officeart/2005/8/layout/hierarchy4"/>
    <dgm:cxn modelId="{E7BCB518-2503-46E5-B426-6D2EB5140F3E}" type="presParOf" srcId="{483219AC-1F56-4DD0-88B3-539C219D0B01}" destId="{8733DA45-4511-4F78-AB6C-8520838A3B8A}" srcOrd="0" destOrd="0" presId="urn:microsoft.com/office/officeart/2005/8/layout/hierarchy4"/>
    <dgm:cxn modelId="{36393954-07D3-4AE4-8B62-D87A9F5777A7}" type="presParOf" srcId="{483219AC-1F56-4DD0-88B3-539C219D0B01}" destId="{71D80E1A-6A02-460F-97A7-005DC9CB3D9F}" srcOrd="1" destOrd="0" presId="urn:microsoft.com/office/officeart/2005/8/layout/hierarchy4"/>
    <dgm:cxn modelId="{9E8D80A1-3A9A-4F00-844F-848AAAB7C3FB}" type="presParOf" srcId="{58DB22B1-E215-45C0-90A2-0EADF55902F3}" destId="{DC9B67B1-FE85-4C51-B57A-BB29DB127892}" srcOrd="7" destOrd="0" presId="urn:microsoft.com/office/officeart/2005/8/layout/hierarchy4"/>
    <dgm:cxn modelId="{10A60AB2-9E34-47A5-A7C4-49C03B5DFB1A}" type="presParOf" srcId="{58DB22B1-E215-45C0-90A2-0EADF55902F3}" destId="{7B19290A-2D5B-46BA-8E55-1EF94DDF8F62}" srcOrd="8" destOrd="0" presId="urn:microsoft.com/office/officeart/2005/8/layout/hierarchy4"/>
    <dgm:cxn modelId="{84FFBC7F-9B8A-4854-BA0A-9F08F580337B}" type="presParOf" srcId="{7B19290A-2D5B-46BA-8E55-1EF94DDF8F62}" destId="{A44D9863-6FC9-4D7D-ABC0-AC8B57F8DD23}" srcOrd="0" destOrd="0" presId="urn:microsoft.com/office/officeart/2005/8/layout/hierarchy4"/>
    <dgm:cxn modelId="{29F57F8B-AA10-4E3E-8431-6F8E12D540EC}" type="presParOf" srcId="{7B19290A-2D5B-46BA-8E55-1EF94DDF8F62}" destId="{DD3F2544-6526-4DA7-85C9-744FD94D672E}" srcOrd="1" destOrd="0" presId="urn:microsoft.com/office/officeart/2005/8/layout/hierarchy4"/>
    <dgm:cxn modelId="{2997EA26-09BE-490F-95C8-367BC719D44B}" type="presParOf" srcId="{58DB22B1-E215-45C0-90A2-0EADF55902F3}" destId="{DB1F9488-8B6A-4C07-968E-77F6AFC43E0C}" srcOrd="9" destOrd="0" presId="urn:microsoft.com/office/officeart/2005/8/layout/hierarchy4"/>
    <dgm:cxn modelId="{CBEFC761-3D49-4A07-B22E-A216BFE62BAD}" type="presParOf" srcId="{58DB22B1-E215-45C0-90A2-0EADF55902F3}" destId="{7323544A-48D4-4516-93C4-6CAC31E67277}" srcOrd="10" destOrd="0" presId="urn:microsoft.com/office/officeart/2005/8/layout/hierarchy4"/>
    <dgm:cxn modelId="{C101C46F-21FC-4540-BBC5-E9F35DDCD2E7}" type="presParOf" srcId="{7323544A-48D4-4516-93C4-6CAC31E67277}" destId="{F3179C61-32C4-47CB-803B-B98A17495F93}" srcOrd="0" destOrd="0" presId="urn:microsoft.com/office/officeart/2005/8/layout/hierarchy4"/>
    <dgm:cxn modelId="{BE9CDD6D-F1F3-452E-A3DD-E4F2EB9EE935}" type="presParOf" srcId="{7323544A-48D4-4516-93C4-6CAC31E67277}" destId="{02AB3717-A134-48D7-96EF-13BE63C72B2D}" srcOrd="1" destOrd="0" presId="urn:microsoft.com/office/officeart/2005/8/layout/hierarchy4"/>
    <dgm:cxn modelId="{03F1BC53-1179-45A8-B70E-93DFC8D138E6}" type="presParOf" srcId="{FF23D148-EB76-464C-8F21-02A4A748E6E3}" destId="{0A343922-C40E-4AD6-9ACF-31DC81885962}" srcOrd="1" destOrd="0" presId="urn:microsoft.com/office/officeart/2005/8/layout/hierarchy4"/>
    <dgm:cxn modelId="{24D43F0B-D57F-4BAB-944A-37900A8E83B6}" type="presParOf" srcId="{FF23D148-EB76-464C-8F21-02A4A748E6E3}" destId="{FC8282DC-195D-407A-8685-77370271D1A7}" srcOrd="2" destOrd="0" presId="urn:microsoft.com/office/officeart/2005/8/layout/hierarchy4"/>
    <dgm:cxn modelId="{A20E1BE4-4773-48CB-A1CA-16DC7C47C33C}" type="presParOf" srcId="{FC8282DC-195D-407A-8685-77370271D1A7}" destId="{875B9683-98A8-4417-839C-0C4AD3860969}" srcOrd="0" destOrd="0" presId="urn:microsoft.com/office/officeart/2005/8/layout/hierarchy4"/>
    <dgm:cxn modelId="{025DF882-C608-4A8C-8A7D-1ECCAE945D62}" type="presParOf" srcId="{FC8282DC-195D-407A-8685-77370271D1A7}" destId="{252FB354-8919-4C2E-A79B-B6B2D1BB2D43}" srcOrd="1" destOrd="0" presId="urn:microsoft.com/office/officeart/2005/8/layout/hierarchy4"/>
    <dgm:cxn modelId="{DA7EFA5C-5842-43BF-B51D-EE8DF655D332}" type="presParOf" srcId="{FC8282DC-195D-407A-8685-77370271D1A7}" destId="{E5AC1834-0FB4-40C8-ACD5-DC14FFA100D4}" srcOrd="2" destOrd="0" presId="urn:microsoft.com/office/officeart/2005/8/layout/hierarchy4"/>
    <dgm:cxn modelId="{531B6BF4-BE4E-488C-A8B3-C445C237699D}" type="presParOf" srcId="{E5AC1834-0FB4-40C8-ACD5-DC14FFA100D4}" destId="{55772D00-3FCB-4D2F-891F-8DB300E4F465}" srcOrd="0" destOrd="0" presId="urn:microsoft.com/office/officeart/2005/8/layout/hierarchy4"/>
    <dgm:cxn modelId="{579FE71E-CA94-49EF-B213-CC5BE9CE66A5}" type="presParOf" srcId="{55772D00-3FCB-4D2F-891F-8DB300E4F465}" destId="{F03148F7-5057-4A83-9288-798CBDFC3602}" srcOrd="0" destOrd="0" presId="urn:microsoft.com/office/officeart/2005/8/layout/hierarchy4"/>
    <dgm:cxn modelId="{810DAB56-67E2-4048-B203-5F971B1B0CD4}" type="presParOf" srcId="{55772D00-3FCB-4D2F-891F-8DB300E4F465}" destId="{1C3953A6-8D78-4C05-AE90-10EE16B479C2}" srcOrd="1" destOrd="0" presId="urn:microsoft.com/office/officeart/2005/8/layout/hierarchy4"/>
    <dgm:cxn modelId="{AD3FA906-1D4A-49E2-A89D-E928FEBE0747}" type="presParOf" srcId="{E5AC1834-0FB4-40C8-ACD5-DC14FFA100D4}" destId="{1F7C77E6-AA47-4D06-800D-2B38F8A0E952}" srcOrd="1" destOrd="0" presId="urn:microsoft.com/office/officeart/2005/8/layout/hierarchy4"/>
    <dgm:cxn modelId="{7FF708D5-4D4D-4712-887A-6FB21B1444E1}" type="presParOf" srcId="{E5AC1834-0FB4-40C8-ACD5-DC14FFA100D4}" destId="{6DC240A1-9CFA-40F4-81FB-BCD3333C9004}" srcOrd="2" destOrd="0" presId="urn:microsoft.com/office/officeart/2005/8/layout/hierarchy4"/>
    <dgm:cxn modelId="{6B638676-7076-4249-8A12-25DC3058B14C}" type="presParOf" srcId="{6DC240A1-9CFA-40F4-81FB-BCD3333C9004}" destId="{27A49B19-05C6-4321-A35B-66D33E812264}" srcOrd="0" destOrd="0" presId="urn:microsoft.com/office/officeart/2005/8/layout/hierarchy4"/>
    <dgm:cxn modelId="{7BF267C5-92DF-46CF-9DC4-FF20D072AA4A}" type="presParOf" srcId="{6DC240A1-9CFA-40F4-81FB-BCD3333C9004}" destId="{23BE6A6A-D789-45A1-9ABD-B98418A76886}"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7D8C3149-BCDB-4AEF-8501-FBFE9C187D50}" type="doc">
      <dgm:prSet loTypeId="urn:microsoft.com/office/officeart/2005/8/layout/hProcess9" loCatId="process" qsTypeId="urn:microsoft.com/office/officeart/2005/8/quickstyle/simple1" qsCatId="simple" csTypeId="urn:microsoft.com/office/officeart/2005/8/colors/accent5_2" csCatId="accent5" phldr="1"/>
      <dgm:spPr/>
      <dgm:t>
        <a:bodyPr/>
        <a:lstStyle/>
        <a:p>
          <a:endParaRPr lang="en-US"/>
        </a:p>
      </dgm:t>
    </dgm:pt>
    <dgm:pt modelId="{79CEFA2F-BB89-4835-93CC-CCEB279F2FA4}">
      <dgm:prSet custT="1"/>
      <dgm:spPr/>
      <dgm:t>
        <a:bodyPr/>
        <a:lstStyle/>
        <a:p>
          <a:pPr rtl="0"/>
          <a:r>
            <a:rPr lang="en-US" sz="1600" dirty="0" smtClean="0"/>
            <a:t>Dev </a:t>
          </a:r>
          <a:r>
            <a:rPr lang="en-US" sz="1600" smtClean="0"/>
            <a:t>makes configuration </a:t>
          </a:r>
          <a:r>
            <a:rPr lang="en-US" sz="1600" dirty="0" smtClean="0"/>
            <a:t>change manually</a:t>
          </a:r>
          <a:endParaRPr lang="en-US" sz="1600" dirty="0"/>
        </a:p>
      </dgm:t>
    </dgm:pt>
    <dgm:pt modelId="{3EFFB74F-EA3C-476C-A32A-F056ABA8C1F3}" type="parTrans" cxnId="{DE14E361-7BEA-4EC2-BA0A-ABDC3CDAE5B8}">
      <dgm:prSet/>
      <dgm:spPr/>
      <dgm:t>
        <a:bodyPr/>
        <a:lstStyle/>
        <a:p>
          <a:endParaRPr lang="en-US"/>
        </a:p>
      </dgm:t>
    </dgm:pt>
    <dgm:pt modelId="{B025EC1E-C60A-4259-B864-D1D915F338BB}" type="sibTrans" cxnId="{DE14E361-7BEA-4EC2-BA0A-ABDC3CDAE5B8}">
      <dgm:prSet/>
      <dgm:spPr/>
      <dgm:t>
        <a:bodyPr/>
        <a:lstStyle/>
        <a:p>
          <a:endParaRPr lang="en-US"/>
        </a:p>
      </dgm:t>
    </dgm:pt>
    <dgm:pt modelId="{D404DA22-85F3-4937-B933-9EF288E48D9E}">
      <dgm:prSet custT="1"/>
      <dgm:spPr/>
      <dgm:t>
        <a:bodyPr/>
        <a:lstStyle/>
        <a:p>
          <a:pPr rtl="0"/>
          <a:r>
            <a:rPr lang="en-US" sz="1600" dirty="0" smtClean="0"/>
            <a:t>Dev summarizes work done in form of Jira tasks</a:t>
          </a:r>
          <a:endParaRPr lang="en-US" sz="1600" dirty="0"/>
        </a:p>
      </dgm:t>
    </dgm:pt>
    <dgm:pt modelId="{5D14E218-4EFD-4C7F-A320-1060C92025EF}" type="parTrans" cxnId="{5D41E261-5872-4476-8369-D9BF8B21ED3C}">
      <dgm:prSet/>
      <dgm:spPr/>
      <dgm:t>
        <a:bodyPr/>
        <a:lstStyle/>
        <a:p>
          <a:endParaRPr lang="en-US"/>
        </a:p>
      </dgm:t>
    </dgm:pt>
    <dgm:pt modelId="{0EAB2236-3BBB-4126-A164-6DD5B04308AC}" type="sibTrans" cxnId="{5D41E261-5872-4476-8369-D9BF8B21ED3C}">
      <dgm:prSet/>
      <dgm:spPr/>
      <dgm:t>
        <a:bodyPr/>
        <a:lstStyle/>
        <a:p>
          <a:endParaRPr lang="en-US"/>
        </a:p>
      </dgm:t>
    </dgm:pt>
    <dgm:pt modelId="{0CE706C2-39F7-4C91-B947-365B5EEEFD7D}">
      <dgm:prSet custT="1"/>
      <dgm:spPr/>
      <dgm:t>
        <a:bodyPr/>
        <a:lstStyle/>
        <a:p>
          <a:pPr rtl="0"/>
          <a:r>
            <a:rPr lang="en-US" sz="1600" dirty="0" smtClean="0"/>
            <a:t>QE validates changes and task</a:t>
          </a:r>
          <a:endParaRPr lang="en-US" sz="1600" dirty="0"/>
        </a:p>
      </dgm:t>
    </dgm:pt>
    <dgm:pt modelId="{560B15D4-649B-4D56-B1CE-094CD43F741F}" type="parTrans" cxnId="{B9B6C798-61B9-4448-94F4-EEAED19AA879}">
      <dgm:prSet/>
      <dgm:spPr/>
      <dgm:t>
        <a:bodyPr/>
        <a:lstStyle/>
        <a:p>
          <a:endParaRPr lang="en-US"/>
        </a:p>
      </dgm:t>
    </dgm:pt>
    <dgm:pt modelId="{EB9FCD2C-5F4A-40E5-ADB4-BBC8E4CCBAF3}" type="sibTrans" cxnId="{B9B6C798-61B9-4448-94F4-EEAED19AA879}">
      <dgm:prSet/>
      <dgm:spPr/>
      <dgm:t>
        <a:bodyPr/>
        <a:lstStyle/>
        <a:p>
          <a:endParaRPr lang="en-US"/>
        </a:p>
      </dgm:t>
    </dgm:pt>
    <dgm:pt modelId="{A0D18E80-7D87-4CB0-94D4-7DBB45E2E088}">
      <dgm:prSet custT="1"/>
      <dgm:spPr/>
      <dgm:t>
        <a:bodyPr/>
        <a:lstStyle/>
        <a:p>
          <a:pPr rtl="0"/>
          <a:r>
            <a:rPr lang="en-US" sz="1600" dirty="0" smtClean="0"/>
            <a:t>Application Deploy (AD) reviews task for validity</a:t>
          </a:r>
          <a:endParaRPr lang="en-US" sz="1600" dirty="0"/>
        </a:p>
      </dgm:t>
    </dgm:pt>
    <dgm:pt modelId="{917EEF2B-CD77-4408-A607-C99C2E0337A6}" type="parTrans" cxnId="{746E416D-27A5-4561-BBF0-AE2F08DF636D}">
      <dgm:prSet/>
      <dgm:spPr/>
      <dgm:t>
        <a:bodyPr/>
        <a:lstStyle/>
        <a:p>
          <a:endParaRPr lang="en-US"/>
        </a:p>
      </dgm:t>
    </dgm:pt>
    <dgm:pt modelId="{704FC4B9-4B77-4BB4-87AE-7335B67AA85D}" type="sibTrans" cxnId="{746E416D-27A5-4561-BBF0-AE2F08DF636D}">
      <dgm:prSet/>
      <dgm:spPr/>
      <dgm:t>
        <a:bodyPr/>
        <a:lstStyle/>
        <a:p>
          <a:endParaRPr lang="en-US"/>
        </a:p>
      </dgm:t>
    </dgm:pt>
    <dgm:pt modelId="{09F390A0-96D5-421F-9119-EA541683EE59}">
      <dgm:prSet custT="1"/>
      <dgm:spPr/>
      <dgm:t>
        <a:bodyPr/>
        <a:lstStyle/>
        <a:p>
          <a:pPr rtl="0"/>
          <a:r>
            <a:rPr lang="en-US" sz="1600" dirty="0" smtClean="0"/>
            <a:t>AD adds to deploy plan based info from tasks</a:t>
          </a:r>
          <a:endParaRPr lang="en-US" sz="1600" dirty="0"/>
        </a:p>
      </dgm:t>
    </dgm:pt>
    <dgm:pt modelId="{2FC101BC-9013-4953-BDA6-D76D442CB865}" type="parTrans" cxnId="{23BEA11D-D8AE-42E0-ADE6-233255F20C3C}">
      <dgm:prSet/>
      <dgm:spPr/>
      <dgm:t>
        <a:bodyPr/>
        <a:lstStyle/>
        <a:p>
          <a:endParaRPr lang="en-US"/>
        </a:p>
      </dgm:t>
    </dgm:pt>
    <dgm:pt modelId="{37AA7B94-57D4-4A6A-AF29-312E6ADB409C}" type="sibTrans" cxnId="{23BEA11D-D8AE-42E0-ADE6-233255F20C3C}">
      <dgm:prSet/>
      <dgm:spPr/>
      <dgm:t>
        <a:bodyPr/>
        <a:lstStyle/>
        <a:p>
          <a:endParaRPr lang="en-US"/>
        </a:p>
      </dgm:t>
    </dgm:pt>
    <dgm:pt modelId="{F47080D6-A290-45EC-B3BE-0D05DEB74518}" type="pres">
      <dgm:prSet presAssocID="{7D8C3149-BCDB-4AEF-8501-FBFE9C187D50}" presName="CompostProcess" presStyleCnt="0">
        <dgm:presLayoutVars>
          <dgm:dir/>
          <dgm:resizeHandles val="exact"/>
        </dgm:presLayoutVars>
      </dgm:prSet>
      <dgm:spPr/>
      <dgm:t>
        <a:bodyPr/>
        <a:lstStyle/>
        <a:p>
          <a:endParaRPr lang="en-US"/>
        </a:p>
      </dgm:t>
    </dgm:pt>
    <dgm:pt modelId="{70F9F1EB-FB41-47AF-885D-D02C63DC8855}" type="pres">
      <dgm:prSet presAssocID="{7D8C3149-BCDB-4AEF-8501-FBFE9C187D50}" presName="arrow" presStyleLbl="bgShp" presStyleIdx="0" presStyleCnt="1" custLinFactNeighborX="-777" custLinFactNeighborY="-18277"/>
      <dgm:spPr/>
      <dgm:t>
        <a:bodyPr/>
        <a:lstStyle/>
        <a:p>
          <a:endParaRPr lang="en-US"/>
        </a:p>
      </dgm:t>
    </dgm:pt>
    <dgm:pt modelId="{339C6E7A-6340-49C4-BA75-31675219F47C}" type="pres">
      <dgm:prSet presAssocID="{7D8C3149-BCDB-4AEF-8501-FBFE9C187D50}" presName="linearProcess" presStyleCnt="0"/>
      <dgm:spPr/>
      <dgm:t>
        <a:bodyPr/>
        <a:lstStyle/>
        <a:p>
          <a:endParaRPr lang="en-US"/>
        </a:p>
      </dgm:t>
    </dgm:pt>
    <dgm:pt modelId="{D80E7656-2021-4288-8ECC-616895A0D98E}" type="pres">
      <dgm:prSet presAssocID="{79CEFA2F-BB89-4835-93CC-CCEB279F2FA4}" presName="textNode" presStyleLbl="node1" presStyleIdx="0" presStyleCnt="5" custScaleX="102542" custScaleY="118056">
        <dgm:presLayoutVars>
          <dgm:bulletEnabled val="1"/>
        </dgm:presLayoutVars>
      </dgm:prSet>
      <dgm:spPr/>
      <dgm:t>
        <a:bodyPr/>
        <a:lstStyle/>
        <a:p>
          <a:endParaRPr lang="en-US"/>
        </a:p>
      </dgm:t>
    </dgm:pt>
    <dgm:pt modelId="{F46D380D-D175-4911-9215-B133FC26B5B0}" type="pres">
      <dgm:prSet presAssocID="{B025EC1E-C60A-4259-B864-D1D915F338BB}" presName="sibTrans" presStyleCnt="0"/>
      <dgm:spPr/>
      <dgm:t>
        <a:bodyPr/>
        <a:lstStyle/>
        <a:p>
          <a:endParaRPr lang="en-US"/>
        </a:p>
      </dgm:t>
    </dgm:pt>
    <dgm:pt modelId="{2A780C73-87B8-460B-AAEF-90A721379133}" type="pres">
      <dgm:prSet presAssocID="{D404DA22-85F3-4937-B933-9EF288E48D9E}" presName="textNode" presStyleLbl="node1" presStyleIdx="1" presStyleCnt="5" custScaleY="118056">
        <dgm:presLayoutVars>
          <dgm:bulletEnabled val="1"/>
        </dgm:presLayoutVars>
      </dgm:prSet>
      <dgm:spPr/>
      <dgm:t>
        <a:bodyPr/>
        <a:lstStyle/>
        <a:p>
          <a:endParaRPr lang="en-US"/>
        </a:p>
      </dgm:t>
    </dgm:pt>
    <dgm:pt modelId="{6049A4BC-07DF-428A-AD45-427D79B11956}" type="pres">
      <dgm:prSet presAssocID="{0EAB2236-3BBB-4126-A164-6DD5B04308AC}" presName="sibTrans" presStyleCnt="0"/>
      <dgm:spPr/>
      <dgm:t>
        <a:bodyPr/>
        <a:lstStyle/>
        <a:p>
          <a:endParaRPr lang="en-US"/>
        </a:p>
      </dgm:t>
    </dgm:pt>
    <dgm:pt modelId="{7EA87E4B-3234-4330-88A6-92DBDB6B68B3}" type="pres">
      <dgm:prSet presAssocID="{0CE706C2-39F7-4C91-B947-365B5EEEFD7D}" presName="textNode" presStyleLbl="node1" presStyleIdx="2" presStyleCnt="5" custScaleY="118056">
        <dgm:presLayoutVars>
          <dgm:bulletEnabled val="1"/>
        </dgm:presLayoutVars>
      </dgm:prSet>
      <dgm:spPr/>
      <dgm:t>
        <a:bodyPr/>
        <a:lstStyle/>
        <a:p>
          <a:endParaRPr lang="en-US"/>
        </a:p>
      </dgm:t>
    </dgm:pt>
    <dgm:pt modelId="{4E10460C-36AE-41BE-9A87-5CCEA990EFC6}" type="pres">
      <dgm:prSet presAssocID="{EB9FCD2C-5F4A-40E5-ADB4-BBC8E4CCBAF3}" presName="sibTrans" presStyleCnt="0"/>
      <dgm:spPr/>
      <dgm:t>
        <a:bodyPr/>
        <a:lstStyle/>
        <a:p>
          <a:endParaRPr lang="en-US"/>
        </a:p>
      </dgm:t>
    </dgm:pt>
    <dgm:pt modelId="{7536E29D-3911-41E3-8159-FE8107354E9F}" type="pres">
      <dgm:prSet presAssocID="{A0D18E80-7D87-4CB0-94D4-7DBB45E2E088}" presName="textNode" presStyleLbl="node1" presStyleIdx="3" presStyleCnt="5" custScaleY="118056">
        <dgm:presLayoutVars>
          <dgm:bulletEnabled val="1"/>
        </dgm:presLayoutVars>
      </dgm:prSet>
      <dgm:spPr/>
      <dgm:t>
        <a:bodyPr/>
        <a:lstStyle/>
        <a:p>
          <a:endParaRPr lang="en-US"/>
        </a:p>
      </dgm:t>
    </dgm:pt>
    <dgm:pt modelId="{7E712DEA-0219-4A0A-A874-10D67176AE11}" type="pres">
      <dgm:prSet presAssocID="{704FC4B9-4B77-4BB4-87AE-7335B67AA85D}" presName="sibTrans" presStyleCnt="0"/>
      <dgm:spPr/>
      <dgm:t>
        <a:bodyPr/>
        <a:lstStyle/>
        <a:p>
          <a:endParaRPr lang="en-US"/>
        </a:p>
      </dgm:t>
    </dgm:pt>
    <dgm:pt modelId="{B359A921-6F9C-4EC5-B9B7-37361D5B02DC}" type="pres">
      <dgm:prSet presAssocID="{09F390A0-96D5-421F-9119-EA541683EE59}" presName="textNode" presStyleLbl="node1" presStyleIdx="4" presStyleCnt="5" custScaleY="118056">
        <dgm:presLayoutVars>
          <dgm:bulletEnabled val="1"/>
        </dgm:presLayoutVars>
      </dgm:prSet>
      <dgm:spPr/>
      <dgm:t>
        <a:bodyPr/>
        <a:lstStyle/>
        <a:p>
          <a:endParaRPr lang="en-US"/>
        </a:p>
      </dgm:t>
    </dgm:pt>
  </dgm:ptLst>
  <dgm:cxnLst>
    <dgm:cxn modelId="{8AC694B3-D9BF-4B5C-BAFE-5D9C7965523B}" type="presOf" srcId="{A0D18E80-7D87-4CB0-94D4-7DBB45E2E088}" destId="{7536E29D-3911-41E3-8159-FE8107354E9F}" srcOrd="0" destOrd="0" presId="urn:microsoft.com/office/officeart/2005/8/layout/hProcess9"/>
    <dgm:cxn modelId="{746E416D-27A5-4561-BBF0-AE2F08DF636D}" srcId="{7D8C3149-BCDB-4AEF-8501-FBFE9C187D50}" destId="{A0D18E80-7D87-4CB0-94D4-7DBB45E2E088}" srcOrd="3" destOrd="0" parTransId="{917EEF2B-CD77-4408-A607-C99C2E0337A6}" sibTransId="{704FC4B9-4B77-4BB4-87AE-7335B67AA85D}"/>
    <dgm:cxn modelId="{DE14E361-7BEA-4EC2-BA0A-ABDC3CDAE5B8}" srcId="{7D8C3149-BCDB-4AEF-8501-FBFE9C187D50}" destId="{79CEFA2F-BB89-4835-93CC-CCEB279F2FA4}" srcOrd="0" destOrd="0" parTransId="{3EFFB74F-EA3C-476C-A32A-F056ABA8C1F3}" sibTransId="{B025EC1E-C60A-4259-B864-D1D915F338BB}"/>
    <dgm:cxn modelId="{23BEA11D-D8AE-42E0-ADE6-233255F20C3C}" srcId="{7D8C3149-BCDB-4AEF-8501-FBFE9C187D50}" destId="{09F390A0-96D5-421F-9119-EA541683EE59}" srcOrd="4" destOrd="0" parTransId="{2FC101BC-9013-4953-BDA6-D76D442CB865}" sibTransId="{37AA7B94-57D4-4A6A-AF29-312E6ADB409C}"/>
    <dgm:cxn modelId="{87E276FF-28FD-4A2A-9E47-A8FA494BBD1A}" type="presOf" srcId="{7D8C3149-BCDB-4AEF-8501-FBFE9C187D50}" destId="{F47080D6-A290-45EC-B3BE-0D05DEB74518}" srcOrd="0" destOrd="0" presId="urn:microsoft.com/office/officeart/2005/8/layout/hProcess9"/>
    <dgm:cxn modelId="{5D41E261-5872-4476-8369-D9BF8B21ED3C}" srcId="{7D8C3149-BCDB-4AEF-8501-FBFE9C187D50}" destId="{D404DA22-85F3-4937-B933-9EF288E48D9E}" srcOrd="1" destOrd="0" parTransId="{5D14E218-4EFD-4C7F-A320-1060C92025EF}" sibTransId="{0EAB2236-3BBB-4126-A164-6DD5B04308AC}"/>
    <dgm:cxn modelId="{92B6D144-3423-47D2-B82A-86CF8750EA45}" type="presOf" srcId="{09F390A0-96D5-421F-9119-EA541683EE59}" destId="{B359A921-6F9C-4EC5-B9B7-37361D5B02DC}" srcOrd="0" destOrd="0" presId="urn:microsoft.com/office/officeart/2005/8/layout/hProcess9"/>
    <dgm:cxn modelId="{B9B6C798-61B9-4448-94F4-EEAED19AA879}" srcId="{7D8C3149-BCDB-4AEF-8501-FBFE9C187D50}" destId="{0CE706C2-39F7-4C91-B947-365B5EEEFD7D}" srcOrd="2" destOrd="0" parTransId="{560B15D4-649B-4D56-B1CE-094CD43F741F}" sibTransId="{EB9FCD2C-5F4A-40E5-ADB4-BBC8E4CCBAF3}"/>
    <dgm:cxn modelId="{EF9A8D6C-4E86-4897-9606-5E9052BA5B88}" type="presOf" srcId="{0CE706C2-39F7-4C91-B947-365B5EEEFD7D}" destId="{7EA87E4B-3234-4330-88A6-92DBDB6B68B3}" srcOrd="0" destOrd="0" presId="urn:microsoft.com/office/officeart/2005/8/layout/hProcess9"/>
    <dgm:cxn modelId="{F6F4A344-2869-43FB-B2CF-2745C6006DAE}" type="presOf" srcId="{D404DA22-85F3-4937-B933-9EF288E48D9E}" destId="{2A780C73-87B8-460B-AAEF-90A721379133}" srcOrd="0" destOrd="0" presId="urn:microsoft.com/office/officeart/2005/8/layout/hProcess9"/>
    <dgm:cxn modelId="{F63C2E61-02F0-47C8-804C-E0159E387A8F}" type="presOf" srcId="{79CEFA2F-BB89-4835-93CC-CCEB279F2FA4}" destId="{D80E7656-2021-4288-8ECC-616895A0D98E}" srcOrd="0" destOrd="0" presId="urn:microsoft.com/office/officeart/2005/8/layout/hProcess9"/>
    <dgm:cxn modelId="{F79833B3-462C-436F-8C8C-8E538633E7C3}" type="presParOf" srcId="{F47080D6-A290-45EC-B3BE-0D05DEB74518}" destId="{70F9F1EB-FB41-47AF-885D-D02C63DC8855}" srcOrd="0" destOrd="0" presId="urn:microsoft.com/office/officeart/2005/8/layout/hProcess9"/>
    <dgm:cxn modelId="{9A1DE2DA-48E2-473C-8D2D-CAF381E10475}" type="presParOf" srcId="{F47080D6-A290-45EC-B3BE-0D05DEB74518}" destId="{339C6E7A-6340-49C4-BA75-31675219F47C}" srcOrd="1" destOrd="0" presId="urn:microsoft.com/office/officeart/2005/8/layout/hProcess9"/>
    <dgm:cxn modelId="{7AE89A23-7BCB-4B99-8F88-B93F59762A5C}" type="presParOf" srcId="{339C6E7A-6340-49C4-BA75-31675219F47C}" destId="{D80E7656-2021-4288-8ECC-616895A0D98E}" srcOrd="0" destOrd="0" presId="urn:microsoft.com/office/officeart/2005/8/layout/hProcess9"/>
    <dgm:cxn modelId="{42148C00-7D11-4F79-82F4-60C3989E039E}" type="presParOf" srcId="{339C6E7A-6340-49C4-BA75-31675219F47C}" destId="{F46D380D-D175-4911-9215-B133FC26B5B0}" srcOrd="1" destOrd="0" presId="urn:microsoft.com/office/officeart/2005/8/layout/hProcess9"/>
    <dgm:cxn modelId="{35245834-6061-48CF-87E0-9CBFA8AE52B9}" type="presParOf" srcId="{339C6E7A-6340-49C4-BA75-31675219F47C}" destId="{2A780C73-87B8-460B-AAEF-90A721379133}" srcOrd="2" destOrd="0" presId="urn:microsoft.com/office/officeart/2005/8/layout/hProcess9"/>
    <dgm:cxn modelId="{20506555-2DA3-4890-A541-50F4EE3A714D}" type="presParOf" srcId="{339C6E7A-6340-49C4-BA75-31675219F47C}" destId="{6049A4BC-07DF-428A-AD45-427D79B11956}" srcOrd="3" destOrd="0" presId="urn:microsoft.com/office/officeart/2005/8/layout/hProcess9"/>
    <dgm:cxn modelId="{D425D11F-AE32-4765-BDE3-FF5ED5723FA5}" type="presParOf" srcId="{339C6E7A-6340-49C4-BA75-31675219F47C}" destId="{7EA87E4B-3234-4330-88A6-92DBDB6B68B3}" srcOrd="4" destOrd="0" presId="urn:microsoft.com/office/officeart/2005/8/layout/hProcess9"/>
    <dgm:cxn modelId="{220F8AEA-CC4F-49D3-8E2A-62B2470C7E76}" type="presParOf" srcId="{339C6E7A-6340-49C4-BA75-31675219F47C}" destId="{4E10460C-36AE-41BE-9A87-5CCEA990EFC6}" srcOrd="5" destOrd="0" presId="urn:microsoft.com/office/officeart/2005/8/layout/hProcess9"/>
    <dgm:cxn modelId="{0B28F2A7-514A-4324-9EDD-D2CF86B068AB}" type="presParOf" srcId="{339C6E7A-6340-49C4-BA75-31675219F47C}" destId="{7536E29D-3911-41E3-8159-FE8107354E9F}" srcOrd="6" destOrd="0" presId="urn:microsoft.com/office/officeart/2005/8/layout/hProcess9"/>
    <dgm:cxn modelId="{1478713E-8CAE-45F4-A77F-842996772C04}" type="presParOf" srcId="{339C6E7A-6340-49C4-BA75-31675219F47C}" destId="{7E712DEA-0219-4A0A-A874-10D67176AE11}" srcOrd="7" destOrd="0" presId="urn:microsoft.com/office/officeart/2005/8/layout/hProcess9"/>
    <dgm:cxn modelId="{1FFF38C2-DE50-40F7-B3E0-C19097A38148}" type="presParOf" srcId="{339C6E7A-6340-49C4-BA75-31675219F47C}" destId="{B359A921-6F9C-4EC5-B9B7-37361D5B02DC}"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5B24D84-A9F2-451D-BE14-9E5915BD3B59}" type="doc">
      <dgm:prSet loTypeId="urn:microsoft.com/office/officeart/2005/8/layout/hProcess9" loCatId="process" qsTypeId="urn:microsoft.com/office/officeart/2005/8/quickstyle/simple1" qsCatId="simple" csTypeId="urn:microsoft.com/office/officeart/2005/8/colors/accent3_2" csCatId="accent3" phldr="1"/>
      <dgm:spPr/>
      <dgm:t>
        <a:bodyPr/>
        <a:lstStyle/>
        <a:p>
          <a:endParaRPr lang="en-US"/>
        </a:p>
      </dgm:t>
    </dgm:pt>
    <dgm:pt modelId="{3B44544F-32F1-4B5F-B361-80C086553678}">
      <dgm:prSet custT="1"/>
      <dgm:spPr/>
      <dgm:t>
        <a:bodyPr/>
        <a:lstStyle/>
        <a:p>
          <a:pPr rtl="0"/>
          <a:r>
            <a:rPr lang="en-US" sz="1800" dirty="0" smtClean="0"/>
            <a:t>Configuration templates delivered within software</a:t>
          </a:r>
          <a:endParaRPr lang="en-US" sz="1800" dirty="0"/>
        </a:p>
      </dgm:t>
    </dgm:pt>
    <dgm:pt modelId="{49A5529E-F3F7-4EBB-995F-9A52B97578FE}" type="parTrans" cxnId="{1DE49A8B-5B6A-43ED-9F6D-90B8862B399A}">
      <dgm:prSet/>
      <dgm:spPr/>
      <dgm:t>
        <a:bodyPr/>
        <a:lstStyle/>
        <a:p>
          <a:endParaRPr lang="en-US"/>
        </a:p>
      </dgm:t>
    </dgm:pt>
    <dgm:pt modelId="{25D76A4E-D5D5-44C0-ABFB-B347C944A688}" type="sibTrans" cxnId="{1DE49A8B-5B6A-43ED-9F6D-90B8862B399A}">
      <dgm:prSet/>
      <dgm:spPr/>
      <dgm:t>
        <a:bodyPr/>
        <a:lstStyle/>
        <a:p>
          <a:endParaRPr lang="en-US"/>
        </a:p>
      </dgm:t>
    </dgm:pt>
    <dgm:pt modelId="{5DA9FF84-81FE-4589-B846-D68D2673C9E7}">
      <dgm:prSet custT="1"/>
      <dgm:spPr/>
      <dgm:t>
        <a:bodyPr/>
        <a:lstStyle/>
        <a:p>
          <a:pPr rtl="0"/>
          <a:r>
            <a:rPr lang="en-US" sz="1800" dirty="0" smtClean="0"/>
            <a:t>Execution of procedures automatically add to deploy plan</a:t>
          </a:r>
          <a:endParaRPr lang="en-US" sz="1800" dirty="0"/>
        </a:p>
      </dgm:t>
    </dgm:pt>
    <dgm:pt modelId="{0D7DF73C-5549-4BA6-9BAC-5FB3FE637264}" type="parTrans" cxnId="{F9F87821-5B05-4DEE-9773-B19F458474F4}">
      <dgm:prSet/>
      <dgm:spPr/>
      <dgm:t>
        <a:bodyPr/>
        <a:lstStyle/>
        <a:p>
          <a:endParaRPr lang="en-US"/>
        </a:p>
      </dgm:t>
    </dgm:pt>
    <dgm:pt modelId="{D4315508-F2C0-4FAB-BDA4-A73AEFC34E02}" type="sibTrans" cxnId="{F9F87821-5B05-4DEE-9773-B19F458474F4}">
      <dgm:prSet/>
      <dgm:spPr/>
      <dgm:t>
        <a:bodyPr/>
        <a:lstStyle/>
        <a:p>
          <a:endParaRPr lang="en-US"/>
        </a:p>
      </dgm:t>
    </dgm:pt>
    <dgm:pt modelId="{BD0DBC53-DC01-4BFE-9222-F7B5729619C0}">
      <dgm:prSet custT="1"/>
      <dgm:spPr/>
      <dgm:t>
        <a:bodyPr/>
        <a:lstStyle/>
        <a:p>
          <a:pPr rtl="0"/>
          <a:r>
            <a:rPr lang="en-US" sz="1800" dirty="0" smtClean="0"/>
            <a:t>ENG maintains catalogue of name value pairs</a:t>
          </a:r>
          <a:endParaRPr lang="en-US" sz="1800" dirty="0"/>
        </a:p>
      </dgm:t>
    </dgm:pt>
    <dgm:pt modelId="{21129D85-F229-44E0-B5A9-CBD1FBF1A56A}" type="parTrans" cxnId="{9B8FC24D-A917-4862-A68D-02030FFA3E84}">
      <dgm:prSet/>
      <dgm:spPr/>
      <dgm:t>
        <a:bodyPr/>
        <a:lstStyle/>
        <a:p>
          <a:endParaRPr lang="en-US"/>
        </a:p>
      </dgm:t>
    </dgm:pt>
    <dgm:pt modelId="{F592BBFB-60CB-48A6-9A77-982BFF0D0A26}" type="sibTrans" cxnId="{9B8FC24D-A917-4862-A68D-02030FFA3E84}">
      <dgm:prSet/>
      <dgm:spPr/>
      <dgm:t>
        <a:bodyPr/>
        <a:lstStyle/>
        <a:p>
          <a:endParaRPr lang="en-US"/>
        </a:p>
      </dgm:t>
    </dgm:pt>
    <dgm:pt modelId="{A8C198D6-146D-4D6D-85D1-59E8DD6F6593}">
      <dgm:prSet custT="1"/>
      <dgm:spPr/>
      <dgm:t>
        <a:bodyPr/>
        <a:lstStyle/>
        <a:p>
          <a:pPr rtl="0"/>
          <a:r>
            <a:rPr lang="en-US" sz="1700" dirty="0" smtClean="0"/>
            <a:t>Addition to catalogue only possible by running Commander procedures</a:t>
          </a:r>
          <a:endParaRPr lang="en-US" sz="1700" dirty="0"/>
        </a:p>
      </dgm:t>
    </dgm:pt>
    <dgm:pt modelId="{92A3073D-72AC-4BF0-9D86-81287EE061C2}" type="parTrans" cxnId="{71E5237C-6B6F-4884-BB86-13AC7515BF8A}">
      <dgm:prSet/>
      <dgm:spPr/>
      <dgm:t>
        <a:bodyPr/>
        <a:lstStyle/>
        <a:p>
          <a:endParaRPr lang="en-US"/>
        </a:p>
      </dgm:t>
    </dgm:pt>
    <dgm:pt modelId="{C76B6111-3532-4EE7-AD89-8AA7C64FCAD8}" type="sibTrans" cxnId="{71E5237C-6B6F-4884-BB86-13AC7515BF8A}">
      <dgm:prSet/>
      <dgm:spPr/>
      <dgm:t>
        <a:bodyPr/>
        <a:lstStyle/>
        <a:p>
          <a:endParaRPr lang="en-US"/>
        </a:p>
      </dgm:t>
    </dgm:pt>
    <dgm:pt modelId="{2F029AA9-0DA1-477C-91F3-E0211835C729}" type="pres">
      <dgm:prSet presAssocID="{C5B24D84-A9F2-451D-BE14-9E5915BD3B59}" presName="CompostProcess" presStyleCnt="0">
        <dgm:presLayoutVars>
          <dgm:dir val="rev"/>
          <dgm:resizeHandles val="exact"/>
        </dgm:presLayoutVars>
      </dgm:prSet>
      <dgm:spPr/>
      <dgm:t>
        <a:bodyPr/>
        <a:lstStyle/>
        <a:p>
          <a:endParaRPr lang="en-US"/>
        </a:p>
      </dgm:t>
    </dgm:pt>
    <dgm:pt modelId="{3FEB9EEC-7B54-41BE-B16A-48CB9D91A0BD}" type="pres">
      <dgm:prSet presAssocID="{C5B24D84-A9F2-451D-BE14-9E5915BD3B59}" presName="arrow" presStyleLbl="bgShp" presStyleIdx="0" presStyleCnt="1"/>
      <dgm:spPr/>
    </dgm:pt>
    <dgm:pt modelId="{14CB5E59-FCE7-44DF-99BE-9F36E0ED7E70}" type="pres">
      <dgm:prSet presAssocID="{C5B24D84-A9F2-451D-BE14-9E5915BD3B59}" presName="linearProcess" presStyleCnt="0"/>
      <dgm:spPr/>
    </dgm:pt>
    <dgm:pt modelId="{A2424038-3EF6-4450-98BE-84E8000C6B58}" type="pres">
      <dgm:prSet presAssocID="{3B44544F-32F1-4B5F-B361-80C086553678}" presName="textNode" presStyleLbl="node1" presStyleIdx="0" presStyleCnt="4" custScaleY="118056">
        <dgm:presLayoutVars>
          <dgm:bulletEnabled val="1"/>
        </dgm:presLayoutVars>
      </dgm:prSet>
      <dgm:spPr/>
      <dgm:t>
        <a:bodyPr/>
        <a:lstStyle/>
        <a:p>
          <a:endParaRPr lang="en-US"/>
        </a:p>
      </dgm:t>
    </dgm:pt>
    <dgm:pt modelId="{E54B207B-7757-4174-B384-585937E6206F}" type="pres">
      <dgm:prSet presAssocID="{25D76A4E-D5D5-44C0-ABFB-B347C944A688}" presName="sibTrans" presStyleCnt="0"/>
      <dgm:spPr/>
    </dgm:pt>
    <dgm:pt modelId="{9906DC69-2D6D-42B1-8D45-DF3F21CBE4C0}" type="pres">
      <dgm:prSet presAssocID="{BD0DBC53-DC01-4BFE-9222-F7B5729619C0}" presName="textNode" presStyleLbl="node1" presStyleIdx="1" presStyleCnt="4" custScaleY="118056">
        <dgm:presLayoutVars>
          <dgm:bulletEnabled val="1"/>
        </dgm:presLayoutVars>
      </dgm:prSet>
      <dgm:spPr/>
      <dgm:t>
        <a:bodyPr/>
        <a:lstStyle/>
        <a:p>
          <a:endParaRPr lang="en-US"/>
        </a:p>
      </dgm:t>
    </dgm:pt>
    <dgm:pt modelId="{F49E6EF6-413B-4963-9914-035E91C21E12}" type="pres">
      <dgm:prSet presAssocID="{F592BBFB-60CB-48A6-9A77-982BFF0D0A26}" presName="sibTrans" presStyleCnt="0"/>
      <dgm:spPr/>
    </dgm:pt>
    <dgm:pt modelId="{7430CA29-8CB5-4BBB-BE2D-6496CBE83D23}" type="pres">
      <dgm:prSet presAssocID="{A8C198D6-146D-4D6D-85D1-59E8DD6F6593}" presName="textNode" presStyleLbl="node1" presStyleIdx="2" presStyleCnt="4" custScaleY="118056">
        <dgm:presLayoutVars>
          <dgm:bulletEnabled val="1"/>
        </dgm:presLayoutVars>
      </dgm:prSet>
      <dgm:spPr/>
      <dgm:t>
        <a:bodyPr/>
        <a:lstStyle/>
        <a:p>
          <a:endParaRPr lang="en-US"/>
        </a:p>
      </dgm:t>
    </dgm:pt>
    <dgm:pt modelId="{AC495F83-2980-4FC4-9434-E31C3AF99C87}" type="pres">
      <dgm:prSet presAssocID="{C76B6111-3532-4EE7-AD89-8AA7C64FCAD8}" presName="sibTrans" presStyleCnt="0"/>
      <dgm:spPr/>
    </dgm:pt>
    <dgm:pt modelId="{F041DE1C-000D-4443-B7C2-0DB846142741}" type="pres">
      <dgm:prSet presAssocID="{5DA9FF84-81FE-4589-B846-D68D2673C9E7}" presName="textNode" presStyleLbl="node1" presStyleIdx="3" presStyleCnt="4" custScaleY="118056">
        <dgm:presLayoutVars>
          <dgm:bulletEnabled val="1"/>
        </dgm:presLayoutVars>
      </dgm:prSet>
      <dgm:spPr/>
      <dgm:t>
        <a:bodyPr/>
        <a:lstStyle/>
        <a:p>
          <a:endParaRPr lang="en-US"/>
        </a:p>
      </dgm:t>
    </dgm:pt>
  </dgm:ptLst>
  <dgm:cxnLst>
    <dgm:cxn modelId="{9B8FC24D-A917-4862-A68D-02030FFA3E84}" srcId="{C5B24D84-A9F2-451D-BE14-9E5915BD3B59}" destId="{BD0DBC53-DC01-4BFE-9222-F7B5729619C0}" srcOrd="1" destOrd="0" parTransId="{21129D85-F229-44E0-B5A9-CBD1FBF1A56A}" sibTransId="{F592BBFB-60CB-48A6-9A77-982BFF0D0A26}"/>
    <dgm:cxn modelId="{0CA0DF01-B1C6-4A44-9F53-0D1F4A1445BC}" type="presOf" srcId="{A8C198D6-146D-4D6D-85D1-59E8DD6F6593}" destId="{7430CA29-8CB5-4BBB-BE2D-6496CBE83D23}" srcOrd="0" destOrd="0" presId="urn:microsoft.com/office/officeart/2005/8/layout/hProcess9"/>
    <dgm:cxn modelId="{71E5237C-6B6F-4884-BB86-13AC7515BF8A}" srcId="{C5B24D84-A9F2-451D-BE14-9E5915BD3B59}" destId="{A8C198D6-146D-4D6D-85D1-59E8DD6F6593}" srcOrd="2" destOrd="0" parTransId="{92A3073D-72AC-4BF0-9D86-81287EE061C2}" sibTransId="{C76B6111-3532-4EE7-AD89-8AA7C64FCAD8}"/>
    <dgm:cxn modelId="{0329CE28-6FF5-40F5-9BE7-51AA8590269E}" type="presOf" srcId="{5DA9FF84-81FE-4589-B846-D68D2673C9E7}" destId="{F041DE1C-000D-4443-B7C2-0DB846142741}" srcOrd="0" destOrd="0" presId="urn:microsoft.com/office/officeart/2005/8/layout/hProcess9"/>
    <dgm:cxn modelId="{B671D550-FD00-4F77-A40B-3581699BCBA0}" type="presOf" srcId="{BD0DBC53-DC01-4BFE-9222-F7B5729619C0}" destId="{9906DC69-2D6D-42B1-8D45-DF3F21CBE4C0}" srcOrd="0" destOrd="0" presId="urn:microsoft.com/office/officeart/2005/8/layout/hProcess9"/>
    <dgm:cxn modelId="{F9DF1233-D286-4613-8ABF-60C9AE8B3532}" type="presOf" srcId="{C5B24D84-A9F2-451D-BE14-9E5915BD3B59}" destId="{2F029AA9-0DA1-477C-91F3-E0211835C729}" srcOrd="0" destOrd="0" presId="urn:microsoft.com/office/officeart/2005/8/layout/hProcess9"/>
    <dgm:cxn modelId="{1DE49A8B-5B6A-43ED-9F6D-90B8862B399A}" srcId="{C5B24D84-A9F2-451D-BE14-9E5915BD3B59}" destId="{3B44544F-32F1-4B5F-B361-80C086553678}" srcOrd="0" destOrd="0" parTransId="{49A5529E-F3F7-4EBB-995F-9A52B97578FE}" sibTransId="{25D76A4E-D5D5-44C0-ABFB-B347C944A688}"/>
    <dgm:cxn modelId="{20BA1643-9F17-4AF7-AEA0-1443CD7E5164}" type="presOf" srcId="{3B44544F-32F1-4B5F-B361-80C086553678}" destId="{A2424038-3EF6-4450-98BE-84E8000C6B58}" srcOrd="0" destOrd="0" presId="urn:microsoft.com/office/officeart/2005/8/layout/hProcess9"/>
    <dgm:cxn modelId="{F9F87821-5B05-4DEE-9773-B19F458474F4}" srcId="{C5B24D84-A9F2-451D-BE14-9E5915BD3B59}" destId="{5DA9FF84-81FE-4589-B846-D68D2673C9E7}" srcOrd="3" destOrd="0" parTransId="{0D7DF73C-5549-4BA6-9BAC-5FB3FE637264}" sibTransId="{D4315508-F2C0-4FAB-BDA4-A73AEFC34E02}"/>
    <dgm:cxn modelId="{E8DCDA7C-C03B-482D-91BF-E2185DE6E545}" type="presParOf" srcId="{2F029AA9-0DA1-477C-91F3-E0211835C729}" destId="{3FEB9EEC-7B54-41BE-B16A-48CB9D91A0BD}" srcOrd="0" destOrd="0" presId="urn:microsoft.com/office/officeart/2005/8/layout/hProcess9"/>
    <dgm:cxn modelId="{D76E4834-77DB-4080-B7E4-E60A43AE068B}" type="presParOf" srcId="{2F029AA9-0DA1-477C-91F3-E0211835C729}" destId="{14CB5E59-FCE7-44DF-99BE-9F36E0ED7E70}" srcOrd="1" destOrd="0" presId="urn:microsoft.com/office/officeart/2005/8/layout/hProcess9"/>
    <dgm:cxn modelId="{531CB1F0-C6C5-4033-ABB7-94DF68C61A1C}" type="presParOf" srcId="{14CB5E59-FCE7-44DF-99BE-9F36E0ED7E70}" destId="{A2424038-3EF6-4450-98BE-84E8000C6B58}" srcOrd="0" destOrd="0" presId="urn:microsoft.com/office/officeart/2005/8/layout/hProcess9"/>
    <dgm:cxn modelId="{0FAA93E4-1633-4B89-A8F0-A0B58F9A5D0E}" type="presParOf" srcId="{14CB5E59-FCE7-44DF-99BE-9F36E0ED7E70}" destId="{E54B207B-7757-4174-B384-585937E6206F}" srcOrd="1" destOrd="0" presId="urn:microsoft.com/office/officeart/2005/8/layout/hProcess9"/>
    <dgm:cxn modelId="{27703367-E273-40E1-B23D-9955DA2D480D}" type="presParOf" srcId="{14CB5E59-FCE7-44DF-99BE-9F36E0ED7E70}" destId="{9906DC69-2D6D-42B1-8D45-DF3F21CBE4C0}" srcOrd="2" destOrd="0" presId="urn:microsoft.com/office/officeart/2005/8/layout/hProcess9"/>
    <dgm:cxn modelId="{7278F91C-1330-4745-AA8B-ADED019484FD}" type="presParOf" srcId="{14CB5E59-FCE7-44DF-99BE-9F36E0ED7E70}" destId="{F49E6EF6-413B-4963-9914-035E91C21E12}" srcOrd="3" destOrd="0" presId="urn:microsoft.com/office/officeart/2005/8/layout/hProcess9"/>
    <dgm:cxn modelId="{F6A67870-10E2-4146-8CA1-1AC505DCA1FA}" type="presParOf" srcId="{14CB5E59-FCE7-44DF-99BE-9F36E0ED7E70}" destId="{7430CA29-8CB5-4BBB-BE2D-6496CBE83D23}" srcOrd="4" destOrd="0" presId="urn:microsoft.com/office/officeart/2005/8/layout/hProcess9"/>
    <dgm:cxn modelId="{F370366A-BAF6-4178-9FC6-97FD9DFDCD40}" type="presParOf" srcId="{14CB5E59-FCE7-44DF-99BE-9F36E0ED7E70}" destId="{AC495F83-2980-4FC4-9434-E31C3AF99C87}" srcOrd="5" destOrd="0" presId="urn:microsoft.com/office/officeart/2005/8/layout/hProcess9"/>
    <dgm:cxn modelId="{35ADF499-9167-48BE-98CF-695D3F092229}" type="presParOf" srcId="{14CB5E59-FCE7-44DF-99BE-9F36E0ED7E70}" destId="{F041DE1C-000D-4443-B7C2-0DB846142741}" srcOrd="6"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374657C-B745-4879-98A8-EA3FEC9B887C}"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D8A3AB7E-DB57-4BAA-8472-AA5CE8B1C5B8}">
      <dgm:prSet custT="1"/>
      <dgm:spPr/>
      <dgm:t>
        <a:bodyPr/>
        <a:lstStyle/>
        <a:p>
          <a:pPr rtl="0"/>
          <a:r>
            <a:rPr lang="en-US" sz="2400" dirty="0" smtClean="0"/>
            <a:t>Think Big</a:t>
          </a:r>
          <a:endParaRPr lang="en-US" sz="2400" dirty="0"/>
        </a:p>
      </dgm:t>
    </dgm:pt>
    <dgm:pt modelId="{83654F44-151D-41DF-BE25-AC6730C9C2B9}" type="parTrans" cxnId="{AD4D4626-28D8-4D71-BFEC-65C1E5D82909}">
      <dgm:prSet/>
      <dgm:spPr/>
      <dgm:t>
        <a:bodyPr/>
        <a:lstStyle/>
        <a:p>
          <a:endParaRPr lang="en-US"/>
        </a:p>
      </dgm:t>
    </dgm:pt>
    <dgm:pt modelId="{7C2C5FDF-0554-4D4A-9734-5CB57C3E227B}" type="sibTrans" cxnId="{AD4D4626-28D8-4D71-BFEC-65C1E5D82909}">
      <dgm:prSet/>
      <dgm:spPr/>
      <dgm:t>
        <a:bodyPr/>
        <a:lstStyle/>
        <a:p>
          <a:endParaRPr lang="en-US"/>
        </a:p>
      </dgm:t>
    </dgm:pt>
    <dgm:pt modelId="{36135357-FE7D-4863-9A2A-0CD566C16C65}">
      <dgm:prSet custT="1"/>
      <dgm:spPr/>
      <dgm:t>
        <a:bodyPr/>
        <a:lstStyle/>
        <a:p>
          <a:pPr rtl="0"/>
          <a:r>
            <a:rPr lang="en-US" sz="2000" baseline="0" dirty="0" smtClean="0"/>
            <a:t>Think big, plan big, but start small</a:t>
          </a:r>
          <a:endParaRPr lang="en-US" sz="2000" dirty="0"/>
        </a:p>
      </dgm:t>
    </dgm:pt>
    <dgm:pt modelId="{A6C48040-BC6F-45D5-A24F-2A6D22865932}" type="parTrans" cxnId="{E64D8DB5-C8E2-4958-94F8-8314E63082FF}">
      <dgm:prSet/>
      <dgm:spPr/>
      <dgm:t>
        <a:bodyPr/>
        <a:lstStyle/>
        <a:p>
          <a:endParaRPr lang="en-US"/>
        </a:p>
      </dgm:t>
    </dgm:pt>
    <dgm:pt modelId="{7CB07D43-FA9E-436C-9E62-A3778F50355B}" type="sibTrans" cxnId="{E64D8DB5-C8E2-4958-94F8-8314E63082FF}">
      <dgm:prSet/>
      <dgm:spPr/>
      <dgm:t>
        <a:bodyPr/>
        <a:lstStyle/>
        <a:p>
          <a:endParaRPr lang="en-US"/>
        </a:p>
      </dgm:t>
    </dgm:pt>
    <dgm:pt modelId="{AA576F4B-13DE-432E-900A-139AC2ABC6EC}">
      <dgm:prSet custT="1"/>
      <dgm:spPr/>
      <dgm:t>
        <a:bodyPr/>
        <a:lstStyle/>
        <a:p>
          <a:pPr rtl="0"/>
          <a:r>
            <a:rPr lang="en-US" sz="2000" baseline="0" dirty="0" smtClean="0"/>
            <a:t>Know what your overall goal is but start with a small subset</a:t>
          </a:r>
          <a:endParaRPr lang="en-US" sz="2000" dirty="0"/>
        </a:p>
      </dgm:t>
    </dgm:pt>
    <dgm:pt modelId="{75423B7D-4451-4A4C-8BF7-C8AC9F274363}" type="parTrans" cxnId="{1EAC8BB0-2683-4249-B593-F1E1C98CBCCB}">
      <dgm:prSet/>
      <dgm:spPr/>
      <dgm:t>
        <a:bodyPr/>
        <a:lstStyle/>
        <a:p>
          <a:endParaRPr lang="en-US"/>
        </a:p>
      </dgm:t>
    </dgm:pt>
    <dgm:pt modelId="{FD585CF0-E25E-4D9E-BE27-9B4FFD951909}" type="sibTrans" cxnId="{1EAC8BB0-2683-4249-B593-F1E1C98CBCCB}">
      <dgm:prSet/>
      <dgm:spPr/>
      <dgm:t>
        <a:bodyPr/>
        <a:lstStyle/>
        <a:p>
          <a:endParaRPr lang="en-US"/>
        </a:p>
      </dgm:t>
    </dgm:pt>
    <dgm:pt modelId="{8B4869FE-1C3A-406C-BC83-4FDA6B86F489}">
      <dgm:prSet custT="1"/>
      <dgm:spPr/>
      <dgm:t>
        <a:bodyPr/>
        <a:lstStyle/>
        <a:p>
          <a:pPr rtl="0"/>
          <a:r>
            <a:rPr lang="en-US" sz="2400" dirty="0" smtClean="0"/>
            <a:t>Standards </a:t>
          </a:r>
          <a:endParaRPr lang="en-US" sz="2400" dirty="0"/>
        </a:p>
      </dgm:t>
    </dgm:pt>
    <dgm:pt modelId="{4F27D6D8-6BCA-499B-AAA7-40086FFDA2C2}" type="parTrans" cxnId="{1BC78A34-2B93-46C2-937E-F8B8859805EE}">
      <dgm:prSet/>
      <dgm:spPr/>
      <dgm:t>
        <a:bodyPr/>
        <a:lstStyle/>
        <a:p>
          <a:endParaRPr lang="en-US"/>
        </a:p>
      </dgm:t>
    </dgm:pt>
    <dgm:pt modelId="{0C254FF6-8117-490D-B8B1-08BE715C807A}" type="sibTrans" cxnId="{1BC78A34-2B93-46C2-937E-F8B8859805EE}">
      <dgm:prSet/>
      <dgm:spPr/>
      <dgm:t>
        <a:bodyPr/>
        <a:lstStyle/>
        <a:p>
          <a:endParaRPr lang="en-US"/>
        </a:p>
      </dgm:t>
    </dgm:pt>
    <dgm:pt modelId="{24BB5DBF-BF09-44B0-9A6E-17EAAEE558FC}">
      <dgm:prSet custT="1"/>
      <dgm:spPr/>
      <dgm:t>
        <a:bodyPr/>
        <a:lstStyle/>
        <a:p>
          <a:pPr rtl="0"/>
          <a:r>
            <a:rPr lang="en-US" sz="2000" baseline="0" dirty="0" smtClean="0"/>
            <a:t>Set standards and be consistent</a:t>
          </a:r>
          <a:endParaRPr lang="en-US" sz="2000" dirty="0"/>
        </a:p>
      </dgm:t>
    </dgm:pt>
    <dgm:pt modelId="{7A915B3E-72F2-4617-822E-E7527E3C253C}" type="parTrans" cxnId="{278C9801-A62B-49E6-96E1-2F7ADB2FE80F}">
      <dgm:prSet/>
      <dgm:spPr/>
      <dgm:t>
        <a:bodyPr/>
        <a:lstStyle/>
        <a:p>
          <a:endParaRPr lang="en-US"/>
        </a:p>
      </dgm:t>
    </dgm:pt>
    <dgm:pt modelId="{CEF7BCC1-7459-4D16-9E05-43AD6413C035}" type="sibTrans" cxnId="{278C9801-A62B-49E6-96E1-2F7ADB2FE80F}">
      <dgm:prSet/>
      <dgm:spPr/>
      <dgm:t>
        <a:bodyPr/>
        <a:lstStyle/>
        <a:p>
          <a:endParaRPr lang="en-US"/>
        </a:p>
      </dgm:t>
    </dgm:pt>
    <dgm:pt modelId="{9D8F8FAF-CF67-4C6D-9551-B659DB9393B7}">
      <dgm:prSet custT="1"/>
      <dgm:spPr/>
      <dgm:t>
        <a:bodyPr/>
        <a:lstStyle/>
        <a:p>
          <a:pPr rtl="0"/>
          <a:r>
            <a:rPr lang="en-US" sz="2000" baseline="0" dirty="0" smtClean="0"/>
            <a:t>Enforce the same standards across all of your environment </a:t>
          </a:r>
          <a:endParaRPr lang="en-US" sz="2000" dirty="0"/>
        </a:p>
      </dgm:t>
    </dgm:pt>
    <dgm:pt modelId="{805B779B-0F43-4951-BBA9-8F1D5F0F502F}" type="parTrans" cxnId="{42B98B5E-B806-4438-9F9F-F78FC3A862C0}">
      <dgm:prSet/>
      <dgm:spPr/>
      <dgm:t>
        <a:bodyPr/>
        <a:lstStyle/>
        <a:p>
          <a:endParaRPr lang="en-US"/>
        </a:p>
      </dgm:t>
    </dgm:pt>
    <dgm:pt modelId="{5498B88A-509D-449D-B9AB-67E526B4C97C}" type="sibTrans" cxnId="{42B98B5E-B806-4438-9F9F-F78FC3A862C0}">
      <dgm:prSet/>
      <dgm:spPr/>
      <dgm:t>
        <a:bodyPr/>
        <a:lstStyle/>
        <a:p>
          <a:endParaRPr lang="en-US"/>
        </a:p>
      </dgm:t>
    </dgm:pt>
    <dgm:pt modelId="{115F41B6-929B-449D-B09C-2B4A8520BB28}">
      <dgm:prSet custT="1"/>
      <dgm:spPr/>
      <dgm:t>
        <a:bodyPr/>
        <a:lstStyle/>
        <a:p>
          <a:pPr rtl="0"/>
          <a:r>
            <a:rPr lang="en-US" sz="2000" baseline="0" dirty="0" smtClean="0"/>
            <a:t>Rebuilt where needed; align environments</a:t>
          </a:r>
          <a:endParaRPr lang="en-US" sz="2000" dirty="0"/>
        </a:p>
      </dgm:t>
    </dgm:pt>
    <dgm:pt modelId="{6E7024C4-22DD-422F-8C32-1DCA80813690}" type="parTrans" cxnId="{1DAD1A21-9613-460E-BD7D-E7174A25E3A3}">
      <dgm:prSet/>
      <dgm:spPr/>
      <dgm:t>
        <a:bodyPr/>
        <a:lstStyle/>
        <a:p>
          <a:endParaRPr lang="en-US"/>
        </a:p>
      </dgm:t>
    </dgm:pt>
    <dgm:pt modelId="{3A1E54D3-A7FC-4EC8-A70D-C3A7AB5EE802}" type="sibTrans" cxnId="{1DAD1A21-9613-460E-BD7D-E7174A25E3A3}">
      <dgm:prSet/>
      <dgm:spPr/>
      <dgm:t>
        <a:bodyPr/>
        <a:lstStyle/>
        <a:p>
          <a:endParaRPr lang="en-US"/>
        </a:p>
      </dgm:t>
    </dgm:pt>
    <dgm:pt modelId="{C0DA279D-9F5B-4246-97E3-DC8065989F4C}">
      <dgm:prSet custT="1"/>
      <dgm:spPr/>
      <dgm:t>
        <a:bodyPr/>
        <a:lstStyle/>
        <a:p>
          <a:pPr rtl="0"/>
          <a:r>
            <a:rPr lang="en-US" sz="2400" dirty="0" smtClean="0"/>
            <a:t>Stakeholder Agreement</a:t>
          </a:r>
          <a:endParaRPr lang="en-US" sz="2400" dirty="0"/>
        </a:p>
      </dgm:t>
    </dgm:pt>
    <dgm:pt modelId="{41215AA8-30E9-4607-ABB1-37D682C79440}" type="parTrans" cxnId="{AB9740AF-1924-4285-A968-028A7DBCBD4A}">
      <dgm:prSet/>
      <dgm:spPr/>
      <dgm:t>
        <a:bodyPr/>
        <a:lstStyle/>
        <a:p>
          <a:endParaRPr lang="en-US"/>
        </a:p>
      </dgm:t>
    </dgm:pt>
    <dgm:pt modelId="{674D903C-5FC9-44B0-AABE-EAE08E48CB32}" type="sibTrans" cxnId="{AB9740AF-1924-4285-A968-028A7DBCBD4A}">
      <dgm:prSet/>
      <dgm:spPr/>
      <dgm:t>
        <a:bodyPr/>
        <a:lstStyle/>
        <a:p>
          <a:endParaRPr lang="en-US"/>
        </a:p>
      </dgm:t>
    </dgm:pt>
    <dgm:pt modelId="{9F04A0F6-520A-4782-983A-D2472E914364}">
      <dgm:prSet custT="1"/>
      <dgm:spPr/>
      <dgm:t>
        <a:bodyPr/>
        <a:lstStyle/>
        <a:p>
          <a:pPr rtl="0"/>
          <a:r>
            <a:rPr lang="en-US" sz="2000" baseline="0" dirty="0" smtClean="0"/>
            <a:t>Organizations goals must align with one another</a:t>
          </a:r>
          <a:endParaRPr lang="en-US" sz="2000" dirty="0"/>
        </a:p>
      </dgm:t>
    </dgm:pt>
    <dgm:pt modelId="{2D6FE991-3ACA-4340-A52A-B9E9AA32093E}" type="parTrans" cxnId="{35FF54C4-7CC9-4FDC-8670-E6C23DF7F491}">
      <dgm:prSet/>
      <dgm:spPr/>
      <dgm:t>
        <a:bodyPr/>
        <a:lstStyle/>
        <a:p>
          <a:endParaRPr lang="en-US"/>
        </a:p>
      </dgm:t>
    </dgm:pt>
    <dgm:pt modelId="{2F39E6D4-18FB-4FF5-9B21-E0F771D5103B}" type="sibTrans" cxnId="{35FF54C4-7CC9-4FDC-8670-E6C23DF7F491}">
      <dgm:prSet/>
      <dgm:spPr/>
      <dgm:t>
        <a:bodyPr/>
        <a:lstStyle/>
        <a:p>
          <a:endParaRPr lang="en-US"/>
        </a:p>
      </dgm:t>
    </dgm:pt>
    <dgm:pt modelId="{50E5E098-554E-4401-B79D-D6C0CCE7793C}">
      <dgm:prSet custT="1"/>
      <dgm:spPr/>
      <dgm:t>
        <a:bodyPr/>
        <a:lstStyle/>
        <a:p>
          <a:pPr rtl="0"/>
          <a:r>
            <a:rPr lang="en-US" sz="2000" baseline="0" dirty="0" smtClean="0"/>
            <a:t>Every team affected must be aware and be on board with the changes that are to come</a:t>
          </a:r>
          <a:endParaRPr lang="en-US" sz="2000" dirty="0"/>
        </a:p>
      </dgm:t>
    </dgm:pt>
    <dgm:pt modelId="{6F378796-8B5A-4662-AAB2-1C3611B0979E}" type="parTrans" cxnId="{53464C46-7D64-4A20-8E7A-D8AAACF429CD}">
      <dgm:prSet/>
      <dgm:spPr/>
      <dgm:t>
        <a:bodyPr/>
        <a:lstStyle/>
        <a:p>
          <a:endParaRPr lang="en-US"/>
        </a:p>
      </dgm:t>
    </dgm:pt>
    <dgm:pt modelId="{6EA522D7-9D33-4F78-B3AD-F8EFA1655AC7}" type="sibTrans" cxnId="{53464C46-7D64-4A20-8E7A-D8AAACF429CD}">
      <dgm:prSet/>
      <dgm:spPr/>
      <dgm:t>
        <a:bodyPr/>
        <a:lstStyle/>
        <a:p>
          <a:endParaRPr lang="en-US"/>
        </a:p>
      </dgm:t>
    </dgm:pt>
    <dgm:pt modelId="{D462D6FE-DEB0-45D8-ABB8-6A625C78A510}">
      <dgm:prSet custT="1"/>
      <dgm:spPr/>
      <dgm:t>
        <a:bodyPr/>
        <a:lstStyle/>
        <a:p>
          <a:pPr rtl="0"/>
          <a:r>
            <a:rPr lang="en-US" sz="2400" dirty="0" smtClean="0"/>
            <a:t>Analyze and Reevaluate</a:t>
          </a:r>
          <a:endParaRPr lang="en-US" sz="2400" dirty="0"/>
        </a:p>
      </dgm:t>
    </dgm:pt>
    <dgm:pt modelId="{11196EDF-492E-44E2-8F0E-5F7DFA6D7EB2}" type="parTrans" cxnId="{9043AEB8-3CDD-41EB-88F9-D1A612C1973B}">
      <dgm:prSet/>
      <dgm:spPr/>
      <dgm:t>
        <a:bodyPr/>
        <a:lstStyle/>
        <a:p>
          <a:endParaRPr lang="en-US"/>
        </a:p>
      </dgm:t>
    </dgm:pt>
    <dgm:pt modelId="{46446095-751A-4122-9D03-C18BB2438606}" type="sibTrans" cxnId="{9043AEB8-3CDD-41EB-88F9-D1A612C1973B}">
      <dgm:prSet/>
      <dgm:spPr/>
      <dgm:t>
        <a:bodyPr/>
        <a:lstStyle/>
        <a:p>
          <a:endParaRPr lang="en-US"/>
        </a:p>
      </dgm:t>
    </dgm:pt>
    <dgm:pt modelId="{0F550328-A7A3-4F43-BC17-83EC5499C590}">
      <dgm:prSet custT="1"/>
      <dgm:spPr/>
      <dgm:t>
        <a:bodyPr/>
        <a:lstStyle/>
        <a:p>
          <a:pPr rtl="0"/>
          <a:r>
            <a:rPr lang="en-US" sz="2000" baseline="0" dirty="0" smtClean="0"/>
            <a:t>You won’t get it 100% correct the first time</a:t>
          </a:r>
          <a:endParaRPr lang="en-US" sz="2000" dirty="0"/>
        </a:p>
      </dgm:t>
    </dgm:pt>
    <dgm:pt modelId="{A7D7539C-672A-4DEE-9D1B-54B3C1B594EE}" type="parTrans" cxnId="{738E477F-35BF-468C-8C29-7483989DB453}">
      <dgm:prSet/>
      <dgm:spPr/>
      <dgm:t>
        <a:bodyPr/>
        <a:lstStyle/>
        <a:p>
          <a:endParaRPr lang="en-US"/>
        </a:p>
      </dgm:t>
    </dgm:pt>
    <dgm:pt modelId="{0A173980-964E-4BC2-973C-C2B2AA533A1D}" type="sibTrans" cxnId="{738E477F-35BF-468C-8C29-7483989DB453}">
      <dgm:prSet/>
      <dgm:spPr/>
      <dgm:t>
        <a:bodyPr/>
        <a:lstStyle/>
        <a:p>
          <a:endParaRPr lang="en-US"/>
        </a:p>
      </dgm:t>
    </dgm:pt>
    <dgm:pt modelId="{E51E0492-168F-42C7-8ED4-182496015083}">
      <dgm:prSet custT="1"/>
      <dgm:spPr/>
      <dgm:t>
        <a:bodyPr/>
        <a:lstStyle/>
        <a:p>
          <a:pPr rtl="0"/>
          <a:r>
            <a:rPr lang="en-US" sz="2000" baseline="0" dirty="0" smtClean="0"/>
            <a:t>Don’t be afraid to change the direction, just make sure you’re prepared</a:t>
          </a:r>
          <a:endParaRPr lang="en-US" sz="2000" dirty="0"/>
        </a:p>
      </dgm:t>
    </dgm:pt>
    <dgm:pt modelId="{571B6F24-1E86-42B4-B52D-5CBC89BB7472}" type="parTrans" cxnId="{832E62F3-76FD-42EB-94B6-06C69FFD9E70}">
      <dgm:prSet/>
      <dgm:spPr/>
      <dgm:t>
        <a:bodyPr/>
        <a:lstStyle/>
        <a:p>
          <a:endParaRPr lang="en-US"/>
        </a:p>
      </dgm:t>
    </dgm:pt>
    <dgm:pt modelId="{49D63308-E0A7-421A-AF40-09D03A94DD4F}" type="sibTrans" cxnId="{832E62F3-76FD-42EB-94B6-06C69FFD9E70}">
      <dgm:prSet/>
      <dgm:spPr/>
      <dgm:t>
        <a:bodyPr/>
        <a:lstStyle/>
        <a:p>
          <a:endParaRPr lang="en-US"/>
        </a:p>
      </dgm:t>
    </dgm:pt>
    <dgm:pt modelId="{C1CA0C9D-5193-4AE1-A384-8EC149FCD7A5}">
      <dgm:prSet custT="1"/>
      <dgm:spPr/>
      <dgm:t>
        <a:bodyPr/>
        <a:lstStyle/>
        <a:p>
          <a:pPr rtl="0"/>
          <a:r>
            <a:rPr lang="en-US" sz="2000" dirty="0" smtClean="0"/>
            <a:t>Builds a solid foundation; become really good with that small subset and only then expand</a:t>
          </a:r>
          <a:endParaRPr lang="en-US" sz="2000" dirty="0"/>
        </a:p>
      </dgm:t>
    </dgm:pt>
    <dgm:pt modelId="{FAA84E54-9D6E-4541-904C-2EB04B0B6360}" type="parTrans" cxnId="{6EA30C4A-12D6-4EC5-B12E-21D864F1A8CC}">
      <dgm:prSet/>
      <dgm:spPr/>
    </dgm:pt>
    <dgm:pt modelId="{CDEC8897-5144-4495-A5DF-FB005B12658A}" type="sibTrans" cxnId="{6EA30C4A-12D6-4EC5-B12E-21D864F1A8CC}">
      <dgm:prSet/>
      <dgm:spPr/>
    </dgm:pt>
    <dgm:pt modelId="{5EF48C81-ABD2-4FE0-8E29-6DA702691E3F}" type="pres">
      <dgm:prSet presAssocID="{5374657C-B745-4879-98A8-EA3FEC9B887C}" presName="linear" presStyleCnt="0">
        <dgm:presLayoutVars>
          <dgm:dir/>
          <dgm:animLvl val="lvl"/>
          <dgm:resizeHandles val="exact"/>
        </dgm:presLayoutVars>
      </dgm:prSet>
      <dgm:spPr/>
      <dgm:t>
        <a:bodyPr/>
        <a:lstStyle/>
        <a:p>
          <a:endParaRPr lang="en-US"/>
        </a:p>
      </dgm:t>
    </dgm:pt>
    <dgm:pt modelId="{FB1AA9CF-1DC9-4849-995D-B874C3AE9B01}" type="pres">
      <dgm:prSet presAssocID="{D8A3AB7E-DB57-4BAA-8472-AA5CE8B1C5B8}" presName="parentLin" presStyleCnt="0"/>
      <dgm:spPr/>
    </dgm:pt>
    <dgm:pt modelId="{BBD56477-8D6A-489E-BE42-A3DC26DB3610}" type="pres">
      <dgm:prSet presAssocID="{D8A3AB7E-DB57-4BAA-8472-AA5CE8B1C5B8}" presName="parentLeftMargin" presStyleLbl="node1" presStyleIdx="0" presStyleCnt="4"/>
      <dgm:spPr/>
      <dgm:t>
        <a:bodyPr/>
        <a:lstStyle/>
        <a:p>
          <a:endParaRPr lang="en-US"/>
        </a:p>
      </dgm:t>
    </dgm:pt>
    <dgm:pt modelId="{1D67A50A-5CB0-4A89-B14A-DCADAA2F38AE}" type="pres">
      <dgm:prSet presAssocID="{D8A3AB7E-DB57-4BAA-8472-AA5CE8B1C5B8}" presName="parentText" presStyleLbl="node1" presStyleIdx="0" presStyleCnt="4" custLinFactNeighborX="-58968">
        <dgm:presLayoutVars>
          <dgm:chMax val="0"/>
          <dgm:bulletEnabled val="1"/>
        </dgm:presLayoutVars>
      </dgm:prSet>
      <dgm:spPr/>
      <dgm:t>
        <a:bodyPr/>
        <a:lstStyle/>
        <a:p>
          <a:endParaRPr lang="en-US"/>
        </a:p>
      </dgm:t>
    </dgm:pt>
    <dgm:pt modelId="{C9C39A32-9E6F-4C2F-ADAB-5027A97A9C35}" type="pres">
      <dgm:prSet presAssocID="{D8A3AB7E-DB57-4BAA-8472-AA5CE8B1C5B8}" presName="negativeSpace" presStyleCnt="0"/>
      <dgm:spPr/>
    </dgm:pt>
    <dgm:pt modelId="{225F9815-4693-4C13-A1AA-5A7FF8C8B453}" type="pres">
      <dgm:prSet presAssocID="{D8A3AB7E-DB57-4BAA-8472-AA5CE8B1C5B8}" presName="childText" presStyleLbl="conFgAcc1" presStyleIdx="0" presStyleCnt="4">
        <dgm:presLayoutVars>
          <dgm:bulletEnabled val="1"/>
        </dgm:presLayoutVars>
      </dgm:prSet>
      <dgm:spPr/>
      <dgm:t>
        <a:bodyPr/>
        <a:lstStyle/>
        <a:p>
          <a:endParaRPr lang="en-US"/>
        </a:p>
      </dgm:t>
    </dgm:pt>
    <dgm:pt modelId="{13F33B24-0B43-4F08-9C19-A730A1B6DD96}" type="pres">
      <dgm:prSet presAssocID="{7C2C5FDF-0554-4D4A-9734-5CB57C3E227B}" presName="spaceBetweenRectangles" presStyleCnt="0"/>
      <dgm:spPr/>
    </dgm:pt>
    <dgm:pt modelId="{BA262E77-608F-4EC8-B89A-40626C373B75}" type="pres">
      <dgm:prSet presAssocID="{8B4869FE-1C3A-406C-BC83-4FDA6B86F489}" presName="parentLin" presStyleCnt="0"/>
      <dgm:spPr/>
    </dgm:pt>
    <dgm:pt modelId="{EEAFB2C6-814E-4214-8B3B-44D8003B7534}" type="pres">
      <dgm:prSet presAssocID="{8B4869FE-1C3A-406C-BC83-4FDA6B86F489}" presName="parentLeftMargin" presStyleLbl="node1" presStyleIdx="0" presStyleCnt="4"/>
      <dgm:spPr/>
      <dgm:t>
        <a:bodyPr/>
        <a:lstStyle/>
        <a:p>
          <a:endParaRPr lang="en-US"/>
        </a:p>
      </dgm:t>
    </dgm:pt>
    <dgm:pt modelId="{C09B8B87-A9B3-46B1-99AD-3A421DE35A93}" type="pres">
      <dgm:prSet presAssocID="{8B4869FE-1C3A-406C-BC83-4FDA6B86F489}" presName="parentText" presStyleLbl="node1" presStyleIdx="1" presStyleCnt="4" custLinFactNeighborX="-58968">
        <dgm:presLayoutVars>
          <dgm:chMax val="0"/>
          <dgm:bulletEnabled val="1"/>
        </dgm:presLayoutVars>
      </dgm:prSet>
      <dgm:spPr/>
      <dgm:t>
        <a:bodyPr/>
        <a:lstStyle/>
        <a:p>
          <a:endParaRPr lang="en-US"/>
        </a:p>
      </dgm:t>
    </dgm:pt>
    <dgm:pt modelId="{6D071E1C-7ED7-46A0-90C8-56C8A7F7D534}" type="pres">
      <dgm:prSet presAssocID="{8B4869FE-1C3A-406C-BC83-4FDA6B86F489}" presName="negativeSpace" presStyleCnt="0"/>
      <dgm:spPr/>
    </dgm:pt>
    <dgm:pt modelId="{4539926E-2077-4AEC-AC45-F784563F9801}" type="pres">
      <dgm:prSet presAssocID="{8B4869FE-1C3A-406C-BC83-4FDA6B86F489}" presName="childText" presStyleLbl="conFgAcc1" presStyleIdx="1" presStyleCnt="4">
        <dgm:presLayoutVars>
          <dgm:bulletEnabled val="1"/>
        </dgm:presLayoutVars>
      </dgm:prSet>
      <dgm:spPr/>
      <dgm:t>
        <a:bodyPr/>
        <a:lstStyle/>
        <a:p>
          <a:endParaRPr lang="en-US"/>
        </a:p>
      </dgm:t>
    </dgm:pt>
    <dgm:pt modelId="{54E0AF1B-B33A-47CF-931B-66E2079AF66F}" type="pres">
      <dgm:prSet presAssocID="{0C254FF6-8117-490D-B8B1-08BE715C807A}" presName="spaceBetweenRectangles" presStyleCnt="0"/>
      <dgm:spPr/>
    </dgm:pt>
    <dgm:pt modelId="{42ADD9CF-0937-432A-98F1-A9E4DAE3E64A}" type="pres">
      <dgm:prSet presAssocID="{C0DA279D-9F5B-4246-97E3-DC8065989F4C}" presName="parentLin" presStyleCnt="0"/>
      <dgm:spPr/>
    </dgm:pt>
    <dgm:pt modelId="{93F46794-C120-407B-B599-475452B390CD}" type="pres">
      <dgm:prSet presAssocID="{C0DA279D-9F5B-4246-97E3-DC8065989F4C}" presName="parentLeftMargin" presStyleLbl="node1" presStyleIdx="1" presStyleCnt="4"/>
      <dgm:spPr/>
      <dgm:t>
        <a:bodyPr/>
        <a:lstStyle/>
        <a:p>
          <a:endParaRPr lang="en-US"/>
        </a:p>
      </dgm:t>
    </dgm:pt>
    <dgm:pt modelId="{6ED905E1-D603-40DD-9139-E064EFBF5382}" type="pres">
      <dgm:prSet presAssocID="{C0DA279D-9F5B-4246-97E3-DC8065989F4C}" presName="parentText" presStyleLbl="node1" presStyleIdx="2" presStyleCnt="4" custLinFactNeighborX="-58968">
        <dgm:presLayoutVars>
          <dgm:chMax val="0"/>
          <dgm:bulletEnabled val="1"/>
        </dgm:presLayoutVars>
      </dgm:prSet>
      <dgm:spPr/>
      <dgm:t>
        <a:bodyPr/>
        <a:lstStyle/>
        <a:p>
          <a:endParaRPr lang="en-US"/>
        </a:p>
      </dgm:t>
    </dgm:pt>
    <dgm:pt modelId="{A7298381-47D7-4121-9D2F-EB075B463D25}" type="pres">
      <dgm:prSet presAssocID="{C0DA279D-9F5B-4246-97E3-DC8065989F4C}" presName="negativeSpace" presStyleCnt="0"/>
      <dgm:spPr/>
    </dgm:pt>
    <dgm:pt modelId="{284CCD3E-3AFF-4073-92D4-0BC248C3E7C5}" type="pres">
      <dgm:prSet presAssocID="{C0DA279D-9F5B-4246-97E3-DC8065989F4C}" presName="childText" presStyleLbl="conFgAcc1" presStyleIdx="2" presStyleCnt="4">
        <dgm:presLayoutVars>
          <dgm:bulletEnabled val="1"/>
        </dgm:presLayoutVars>
      </dgm:prSet>
      <dgm:spPr/>
      <dgm:t>
        <a:bodyPr/>
        <a:lstStyle/>
        <a:p>
          <a:endParaRPr lang="en-US"/>
        </a:p>
      </dgm:t>
    </dgm:pt>
    <dgm:pt modelId="{A09BF14D-1D1E-44FC-B653-0E2056429A2F}" type="pres">
      <dgm:prSet presAssocID="{674D903C-5FC9-44B0-AABE-EAE08E48CB32}" presName="spaceBetweenRectangles" presStyleCnt="0"/>
      <dgm:spPr/>
    </dgm:pt>
    <dgm:pt modelId="{4B07F816-C76D-4ECB-BC87-837488967A22}" type="pres">
      <dgm:prSet presAssocID="{D462D6FE-DEB0-45D8-ABB8-6A625C78A510}" presName="parentLin" presStyleCnt="0"/>
      <dgm:spPr/>
    </dgm:pt>
    <dgm:pt modelId="{CD9ADDAB-2BD5-462D-BC47-F8B22E3C8EE6}" type="pres">
      <dgm:prSet presAssocID="{D462D6FE-DEB0-45D8-ABB8-6A625C78A510}" presName="parentLeftMargin" presStyleLbl="node1" presStyleIdx="2" presStyleCnt="4"/>
      <dgm:spPr/>
      <dgm:t>
        <a:bodyPr/>
        <a:lstStyle/>
        <a:p>
          <a:endParaRPr lang="en-US"/>
        </a:p>
      </dgm:t>
    </dgm:pt>
    <dgm:pt modelId="{2B9693E8-32B1-4ED2-8DF1-EBD866288984}" type="pres">
      <dgm:prSet presAssocID="{D462D6FE-DEB0-45D8-ABB8-6A625C78A510}" presName="parentText" presStyleLbl="node1" presStyleIdx="3" presStyleCnt="4" custLinFactNeighborX="-58968">
        <dgm:presLayoutVars>
          <dgm:chMax val="0"/>
          <dgm:bulletEnabled val="1"/>
        </dgm:presLayoutVars>
      </dgm:prSet>
      <dgm:spPr/>
      <dgm:t>
        <a:bodyPr/>
        <a:lstStyle/>
        <a:p>
          <a:endParaRPr lang="en-US"/>
        </a:p>
      </dgm:t>
    </dgm:pt>
    <dgm:pt modelId="{FE0A37DB-4E3E-43FE-846D-A841CB49EF5D}" type="pres">
      <dgm:prSet presAssocID="{D462D6FE-DEB0-45D8-ABB8-6A625C78A510}" presName="negativeSpace" presStyleCnt="0"/>
      <dgm:spPr/>
    </dgm:pt>
    <dgm:pt modelId="{00933505-3202-44A6-A249-015CECC1E061}" type="pres">
      <dgm:prSet presAssocID="{D462D6FE-DEB0-45D8-ABB8-6A625C78A510}" presName="childText" presStyleLbl="conFgAcc1" presStyleIdx="3" presStyleCnt="4">
        <dgm:presLayoutVars>
          <dgm:bulletEnabled val="1"/>
        </dgm:presLayoutVars>
      </dgm:prSet>
      <dgm:spPr/>
      <dgm:t>
        <a:bodyPr/>
        <a:lstStyle/>
        <a:p>
          <a:endParaRPr lang="en-US"/>
        </a:p>
      </dgm:t>
    </dgm:pt>
  </dgm:ptLst>
  <dgm:cxnLst>
    <dgm:cxn modelId="{03AC3DA8-A467-4E6C-A476-2A8DC4BC7F47}" type="presOf" srcId="{D462D6FE-DEB0-45D8-ABB8-6A625C78A510}" destId="{2B9693E8-32B1-4ED2-8DF1-EBD866288984}" srcOrd="1" destOrd="0" presId="urn:microsoft.com/office/officeart/2005/8/layout/list1"/>
    <dgm:cxn modelId="{6EA30C4A-12D6-4EC5-B12E-21D864F1A8CC}" srcId="{D8A3AB7E-DB57-4BAA-8472-AA5CE8B1C5B8}" destId="{C1CA0C9D-5193-4AE1-A384-8EC149FCD7A5}" srcOrd="2" destOrd="0" parTransId="{FAA84E54-9D6E-4541-904C-2EB04B0B6360}" sibTransId="{CDEC8897-5144-4495-A5DF-FB005B12658A}"/>
    <dgm:cxn modelId="{E64D8DB5-C8E2-4958-94F8-8314E63082FF}" srcId="{D8A3AB7E-DB57-4BAA-8472-AA5CE8B1C5B8}" destId="{36135357-FE7D-4863-9A2A-0CD566C16C65}" srcOrd="0" destOrd="0" parTransId="{A6C48040-BC6F-45D5-A24F-2A6D22865932}" sibTransId="{7CB07D43-FA9E-436C-9E62-A3778F50355B}"/>
    <dgm:cxn modelId="{A398E53A-424D-42D5-A7F5-88AD68643BB1}" type="presOf" srcId="{5374657C-B745-4879-98A8-EA3FEC9B887C}" destId="{5EF48C81-ABD2-4FE0-8E29-6DA702691E3F}" srcOrd="0" destOrd="0" presId="urn:microsoft.com/office/officeart/2005/8/layout/list1"/>
    <dgm:cxn modelId="{F018BCE6-044C-4336-B29C-25C0856676E0}" type="presOf" srcId="{C1CA0C9D-5193-4AE1-A384-8EC149FCD7A5}" destId="{225F9815-4693-4C13-A1AA-5A7FF8C8B453}" srcOrd="0" destOrd="2" presId="urn:microsoft.com/office/officeart/2005/8/layout/list1"/>
    <dgm:cxn modelId="{1DAD1A21-9613-460E-BD7D-E7174A25E3A3}" srcId="{8B4869FE-1C3A-406C-BC83-4FDA6B86F489}" destId="{115F41B6-929B-449D-B09C-2B4A8520BB28}" srcOrd="2" destOrd="0" parTransId="{6E7024C4-22DD-422F-8C32-1DCA80813690}" sibTransId="{3A1E54D3-A7FC-4EC8-A70D-C3A7AB5EE802}"/>
    <dgm:cxn modelId="{3E8E955E-080D-4E25-9E4E-2F64ECA9DA2C}" type="presOf" srcId="{E51E0492-168F-42C7-8ED4-182496015083}" destId="{00933505-3202-44A6-A249-015CECC1E061}" srcOrd="0" destOrd="1" presId="urn:microsoft.com/office/officeart/2005/8/layout/list1"/>
    <dgm:cxn modelId="{42B98B5E-B806-4438-9F9F-F78FC3A862C0}" srcId="{8B4869FE-1C3A-406C-BC83-4FDA6B86F489}" destId="{9D8F8FAF-CF67-4C6D-9551-B659DB9393B7}" srcOrd="1" destOrd="0" parTransId="{805B779B-0F43-4951-BBA9-8F1D5F0F502F}" sibTransId="{5498B88A-509D-449D-B9AB-67E526B4C97C}"/>
    <dgm:cxn modelId="{00F0EFA8-8AEC-4E49-93CA-48D5D3B49134}" type="presOf" srcId="{8B4869FE-1C3A-406C-BC83-4FDA6B86F489}" destId="{EEAFB2C6-814E-4214-8B3B-44D8003B7534}" srcOrd="0" destOrd="0" presId="urn:microsoft.com/office/officeart/2005/8/layout/list1"/>
    <dgm:cxn modelId="{AB9740AF-1924-4285-A968-028A7DBCBD4A}" srcId="{5374657C-B745-4879-98A8-EA3FEC9B887C}" destId="{C0DA279D-9F5B-4246-97E3-DC8065989F4C}" srcOrd="2" destOrd="0" parTransId="{41215AA8-30E9-4607-ABB1-37D682C79440}" sibTransId="{674D903C-5FC9-44B0-AABE-EAE08E48CB32}"/>
    <dgm:cxn modelId="{6F2A5F18-1BDD-43A9-9537-7979CB61DC3F}" type="presOf" srcId="{36135357-FE7D-4863-9A2A-0CD566C16C65}" destId="{225F9815-4693-4C13-A1AA-5A7FF8C8B453}" srcOrd="0" destOrd="0" presId="urn:microsoft.com/office/officeart/2005/8/layout/list1"/>
    <dgm:cxn modelId="{52CD6528-2C91-4857-A7AD-4D84FC0727BC}" type="presOf" srcId="{50E5E098-554E-4401-B79D-D6C0CCE7793C}" destId="{284CCD3E-3AFF-4073-92D4-0BC248C3E7C5}" srcOrd="0" destOrd="1" presId="urn:microsoft.com/office/officeart/2005/8/layout/list1"/>
    <dgm:cxn modelId="{E9BC2343-9324-48FA-8464-26A767C1A424}" type="presOf" srcId="{0F550328-A7A3-4F43-BC17-83EC5499C590}" destId="{00933505-3202-44A6-A249-015CECC1E061}" srcOrd="0" destOrd="0" presId="urn:microsoft.com/office/officeart/2005/8/layout/list1"/>
    <dgm:cxn modelId="{1EAC8BB0-2683-4249-B593-F1E1C98CBCCB}" srcId="{D8A3AB7E-DB57-4BAA-8472-AA5CE8B1C5B8}" destId="{AA576F4B-13DE-432E-900A-139AC2ABC6EC}" srcOrd="1" destOrd="0" parTransId="{75423B7D-4451-4A4C-8BF7-C8AC9F274363}" sibTransId="{FD585CF0-E25E-4D9E-BE27-9B4FFD951909}"/>
    <dgm:cxn modelId="{9043AEB8-3CDD-41EB-88F9-D1A612C1973B}" srcId="{5374657C-B745-4879-98A8-EA3FEC9B887C}" destId="{D462D6FE-DEB0-45D8-ABB8-6A625C78A510}" srcOrd="3" destOrd="0" parTransId="{11196EDF-492E-44E2-8F0E-5F7DFA6D7EB2}" sibTransId="{46446095-751A-4122-9D03-C18BB2438606}"/>
    <dgm:cxn modelId="{5D4865A2-5048-48A9-873D-CEC84E5A6D23}" type="presOf" srcId="{D8A3AB7E-DB57-4BAA-8472-AA5CE8B1C5B8}" destId="{BBD56477-8D6A-489E-BE42-A3DC26DB3610}" srcOrd="0" destOrd="0" presId="urn:microsoft.com/office/officeart/2005/8/layout/list1"/>
    <dgm:cxn modelId="{45609A7E-8E0B-438C-863E-C3FD8E5FBFCE}" type="presOf" srcId="{C0DA279D-9F5B-4246-97E3-DC8065989F4C}" destId="{6ED905E1-D603-40DD-9139-E064EFBF5382}" srcOrd="1" destOrd="0" presId="urn:microsoft.com/office/officeart/2005/8/layout/list1"/>
    <dgm:cxn modelId="{42EFB34B-9381-4143-BFCF-337A57255D76}" type="presOf" srcId="{24BB5DBF-BF09-44B0-9A6E-17EAAEE558FC}" destId="{4539926E-2077-4AEC-AC45-F784563F9801}" srcOrd="0" destOrd="0" presId="urn:microsoft.com/office/officeart/2005/8/layout/list1"/>
    <dgm:cxn modelId="{44E6FE1C-DD77-48FD-BD4C-5E94453718B9}" type="presOf" srcId="{D462D6FE-DEB0-45D8-ABB8-6A625C78A510}" destId="{CD9ADDAB-2BD5-462D-BC47-F8B22E3C8EE6}" srcOrd="0" destOrd="0" presId="urn:microsoft.com/office/officeart/2005/8/layout/list1"/>
    <dgm:cxn modelId="{AD4D4626-28D8-4D71-BFEC-65C1E5D82909}" srcId="{5374657C-B745-4879-98A8-EA3FEC9B887C}" destId="{D8A3AB7E-DB57-4BAA-8472-AA5CE8B1C5B8}" srcOrd="0" destOrd="0" parTransId="{83654F44-151D-41DF-BE25-AC6730C9C2B9}" sibTransId="{7C2C5FDF-0554-4D4A-9734-5CB57C3E227B}"/>
    <dgm:cxn modelId="{7363B728-97E3-4288-BA9F-C713DD428641}" type="presOf" srcId="{9D8F8FAF-CF67-4C6D-9551-B659DB9393B7}" destId="{4539926E-2077-4AEC-AC45-F784563F9801}" srcOrd="0" destOrd="1" presId="urn:microsoft.com/office/officeart/2005/8/layout/list1"/>
    <dgm:cxn modelId="{0E00253C-B2B7-4C68-9696-3DCD3CBAC9BB}" type="presOf" srcId="{C0DA279D-9F5B-4246-97E3-DC8065989F4C}" destId="{93F46794-C120-407B-B599-475452B390CD}" srcOrd="0" destOrd="0" presId="urn:microsoft.com/office/officeart/2005/8/layout/list1"/>
    <dgm:cxn modelId="{35FF54C4-7CC9-4FDC-8670-E6C23DF7F491}" srcId="{C0DA279D-9F5B-4246-97E3-DC8065989F4C}" destId="{9F04A0F6-520A-4782-983A-D2472E914364}" srcOrd="0" destOrd="0" parTransId="{2D6FE991-3ACA-4340-A52A-B9E9AA32093E}" sibTransId="{2F39E6D4-18FB-4FF5-9B21-E0F771D5103B}"/>
    <dgm:cxn modelId="{832E62F3-76FD-42EB-94B6-06C69FFD9E70}" srcId="{D462D6FE-DEB0-45D8-ABB8-6A625C78A510}" destId="{E51E0492-168F-42C7-8ED4-182496015083}" srcOrd="1" destOrd="0" parTransId="{571B6F24-1E86-42B4-B52D-5CBC89BB7472}" sibTransId="{49D63308-E0A7-421A-AF40-09D03A94DD4F}"/>
    <dgm:cxn modelId="{738E477F-35BF-468C-8C29-7483989DB453}" srcId="{D462D6FE-DEB0-45D8-ABB8-6A625C78A510}" destId="{0F550328-A7A3-4F43-BC17-83EC5499C590}" srcOrd="0" destOrd="0" parTransId="{A7D7539C-672A-4DEE-9D1B-54B3C1B594EE}" sibTransId="{0A173980-964E-4BC2-973C-C2B2AA533A1D}"/>
    <dgm:cxn modelId="{A6B1C371-A51A-4355-A243-3706D5C63DB9}" type="presOf" srcId="{D8A3AB7E-DB57-4BAA-8472-AA5CE8B1C5B8}" destId="{1D67A50A-5CB0-4A89-B14A-DCADAA2F38AE}" srcOrd="1" destOrd="0" presId="urn:microsoft.com/office/officeart/2005/8/layout/list1"/>
    <dgm:cxn modelId="{1BC78A34-2B93-46C2-937E-F8B8859805EE}" srcId="{5374657C-B745-4879-98A8-EA3FEC9B887C}" destId="{8B4869FE-1C3A-406C-BC83-4FDA6B86F489}" srcOrd="1" destOrd="0" parTransId="{4F27D6D8-6BCA-499B-AAA7-40086FFDA2C2}" sibTransId="{0C254FF6-8117-490D-B8B1-08BE715C807A}"/>
    <dgm:cxn modelId="{53464C46-7D64-4A20-8E7A-D8AAACF429CD}" srcId="{C0DA279D-9F5B-4246-97E3-DC8065989F4C}" destId="{50E5E098-554E-4401-B79D-D6C0CCE7793C}" srcOrd="1" destOrd="0" parTransId="{6F378796-8B5A-4662-AAB2-1C3611B0979E}" sibTransId="{6EA522D7-9D33-4F78-B3AD-F8EFA1655AC7}"/>
    <dgm:cxn modelId="{D2B278D9-F5EB-4C15-94C6-08CBBF4B0D8A}" type="presOf" srcId="{9F04A0F6-520A-4782-983A-D2472E914364}" destId="{284CCD3E-3AFF-4073-92D4-0BC248C3E7C5}" srcOrd="0" destOrd="0" presId="urn:microsoft.com/office/officeart/2005/8/layout/list1"/>
    <dgm:cxn modelId="{924A1725-8199-4D34-AF93-FA301D9AB6B9}" type="presOf" srcId="{8B4869FE-1C3A-406C-BC83-4FDA6B86F489}" destId="{C09B8B87-A9B3-46B1-99AD-3A421DE35A93}" srcOrd="1" destOrd="0" presId="urn:microsoft.com/office/officeart/2005/8/layout/list1"/>
    <dgm:cxn modelId="{278C9801-A62B-49E6-96E1-2F7ADB2FE80F}" srcId="{8B4869FE-1C3A-406C-BC83-4FDA6B86F489}" destId="{24BB5DBF-BF09-44B0-9A6E-17EAAEE558FC}" srcOrd="0" destOrd="0" parTransId="{7A915B3E-72F2-4617-822E-E7527E3C253C}" sibTransId="{CEF7BCC1-7459-4D16-9E05-43AD6413C035}"/>
    <dgm:cxn modelId="{FB6B289A-696B-44F7-A31C-81DD05579620}" type="presOf" srcId="{115F41B6-929B-449D-B09C-2B4A8520BB28}" destId="{4539926E-2077-4AEC-AC45-F784563F9801}" srcOrd="0" destOrd="2" presId="urn:microsoft.com/office/officeart/2005/8/layout/list1"/>
    <dgm:cxn modelId="{6D6D5305-F1A4-4E78-9AE9-D3AF60B43FA1}" type="presOf" srcId="{AA576F4B-13DE-432E-900A-139AC2ABC6EC}" destId="{225F9815-4693-4C13-A1AA-5A7FF8C8B453}" srcOrd="0" destOrd="1" presId="urn:microsoft.com/office/officeart/2005/8/layout/list1"/>
    <dgm:cxn modelId="{D269E674-2399-4875-B3AD-12F40998A4A6}" type="presParOf" srcId="{5EF48C81-ABD2-4FE0-8E29-6DA702691E3F}" destId="{FB1AA9CF-1DC9-4849-995D-B874C3AE9B01}" srcOrd="0" destOrd="0" presId="urn:microsoft.com/office/officeart/2005/8/layout/list1"/>
    <dgm:cxn modelId="{6F3794C3-C5AE-4E01-BCD8-CD6A684E4806}" type="presParOf" srcId="{FB1AA9CF-1DC9-4849-995D-B874C3AE9B01}" destId="{BBD56477-8D6A-489E-BE42-A3DC26DB3610}" srcOrd="0" destOrd="0" presId="urn:microsoft.com/office/officeart/2005/8/layout/list1"/>
    <dgm:cxn modelId="{63CC89BF-EC00-4CA0-A74D-8E957D9901FE}" type="presParOf" srcId="{FB1AA9CF-1DC9-4849-995D-B874C3AE9B01}" destId="{1D67A50A-5CB0-4A89-B14A-DCADAA2F38AE}" srcOrd="1" destOrd="0" presId="urn:microsoft.com/office/officeart/2005/8/layout/list1"/>
    <dgm:cxn modelId="{13049D24-4902-46F6-8B43-850023DD7CE4}" type="presParOf" srcId="{5EF48C81-ABD2-4FE0-8E29-6DA702691E3F}" destId="{C9C39A32-9E6F-4C2F-ADAB-5027A97A9C35}" srcOrd="1" destOrd="0" presId="urn:microsoft.com/office/officeart/2005/8/layout/list1"/>
    <dgm:cxn modelId="{E0D70A05-2780-46F9-B4E7-C5E7F8B785D6}" type="presParOf" srcId="{5EF48C81-ABD2-4FE0-8E29-6DA702691E3F}" destId="{225F9815-4693-4C13-A1AA-5A7FF8C8B453}" srcOrd="2" destOrd="0" presId="urn:microsoft.com/office/officeart/2005/8/layout/list1"/>
    <dgm:cxn modelId="{89CA09C3-99D9-45D4-9FC8-85438C97627D}" type="presParOf" srcId="{5EF48C81-ABD2-4FE0-8E29-6DA702691E3F}" destId="{13F33B24-0B43-4F08-9C19-A730A1B6DD96}" srcOrd="3" destOrd="0" presId="urn:microsoft.com/office/officeart/2005/8/layout/list1"/>
    <dgm:cxn modelId="{0F42D0B8-C574-431F-BFA2-5431E1207614}" type="presParOf" srcId="{5EF48C81-ABD2-4FE0-8E29-6DA702691E3F}" destId="{BA262E77-608F-4EC8-B89A-40626C373B75}" srcOrd="4" destOrd="0" presId="urn:microsoft.com/office/officeart/2005/8/layout/list1"/>
    <dgm:cxn modelId="{49930FDE-5593-447B-91D9-CC1B7DFA1690}" type="presParOf" srcId="{BA262E77-608F-4EC8-B89A-40626C373B75}" destId="{EEAFB2C6-814E-4214-8B3B-44D8003B7534}" srcOrd="0" destOrd="0" presId="urn:microsoft.com/office/officeart/2005/8/layout/list1"/>
    <dgm:cxn modelId="{177C0F28-95B9-4980-A0AF-4A53C157F2FC}" type="presParOf" srcId="{BA262E77-608F-4EC8-B89A-40626C373B75}" destId="{C09B8B87-A9B3-46B1-99AD-3A421DE35A93}" srcOrd="1" destOrd="0" presId="urn:microsoft.com/office/officeart/2005/8/layout/list1"/>
    <dgm:cxn modelId="{AA40A649-AC6A-4D5B-AB77-B981CC000E19}" type="presParOf" srcId="{5EF48C81-ABD2-4FE0-8E29-6DA702691E3F}" destId="{6D071E1C-7ED7-46A0-90C8-56C8A7F7D534}" srcOrd="5" destOrd="0" presId="urn:microsoft.com/office/officeart/2005/8/layout/list1"/>
    <dgm:cxn modelId="{9F59CEE2-48F4-4366-A14F-9AE7A9CB171A}" type="presParOf" srcId="{5EF48C81-ABD2-4FE0-8E29-6DA702691E3F}" destId="{4539926E-2077-4AEC-AC45-F784563F9801}" srcOrd="6" destOrd="0" presId="urn:microsoft.com/office/officeart/2005/8/layout/list1"/>
    <dgm:cxn modelId="{D2192424-4AA0-442E-ABDF-1ABD0966B045}" type="presParOf" srcId="{5EF48C81-ABD2-4FE0-8E29-6DA702691E3F}" destId="{54E0AF1B-B33A-47CF-931B-66E2079AF66F}" srcOrd="7" destOrd="0" presId="urn:microsoft.com/office/officeart/2005/8/layout/list1"/>
    <dgm:cxn modelId="{4CFF0B66-1EEA-4CB7-9A3B-50B3A376411B}" type="presParOf" srcId="{5EF48C81-ABD2-4FE0-8E29-6DA702691E3F}" destId="{42ADD9CF-0937-432A-98F1-A9E4DAE3E64A}" srcOrd="8" destOrd="0" presId="urn:microsoft.com/office/officeart/2005/8/layout/list1"/>
    <dgm:cxn modelId="{E8E03215-9BBB-40F3-B24E-87EAC2A41225}" type="presParOf" srcId="{42ADD9CF-0937-432A-98F1-A9E4DAE3E64A}" destId="{93F46794-C120-407B-B599-475452B390CD}" srcOrd="0" destOrd="0" presId="urn:microsoft.com/office/officeart/2005/8/layout/list1"/>
    <dgm:cxn modelId="{E6A1061C-2BBA-49F2-A94D-FDD0327A1FAB}" type="presParOf" srcId="{42ADD9CF-0937-432A-98F1-A9E4DAE3E64A}" destId="{6ED905E1-D603-40DD-9139-E064EFBF5382}" srcOrd="1" destOrd="0" presId="urn:microsoft.com/office/officeart/2005/8/layout/list1"/>
    <dgm:cxn modelId="{2C337290-E245-47AA-B8BA-B13A594B1F4D}" type="presParOf" srcId="{5EF48C81-ABD2-4FE0-8E29-6DA702691E3F}" destId="{A7298381-47D7-4121-9D2F-EB075B463D25}" srcOrd="9" destOrd="0" presId="urn:microsoft.com/office/officeart/2005/8/layout/list1"/>
    <dgm:cxn modelId="{3543C8C7-780F-4AF1-8AB7-4D5DD2D49F8C}" type="presParOf" srcId="{5EF48C81-ABD2-4FE0-8E29-6DA702691E3F}" destId="{284CCD3E-3AFF-4073-92D4-0BC248C3E7C5}" srcOrd="10" destOrd="0" presId="urn:microsoft.com/office/officeart/2005/8/layout/list1"/>
    <dgm:cxn modelId="{5FCE076E-B303-4D01-A072-F63C03C16B5E}" type="presParOf" srcId="{5EF48C81-ABD2-4FE0-8E29-6DA702691E3F}" destId="{A09BF14D-1D1E-44FC-B653-0E2056429A2F}" srcOrd="11" destOrd="0" presId="urn:microsoft.com/office/officeart/2005/8/layout/list1"/>
    <dgm:cxn modelId="{11F827F5-5472-4486-A2C0-366B8D9CBA04}" type="presParOf" srcId="{5EF48C81-ABD2-4FE0-8E29-6DA702691E3F}" destId="{4B07F816-C76D-4ECB-BC87-837488967A22}" srcOrd="12" destOrd="0" presId="urn:microsoft.com/office/officeart/2005/8/layout/list1"/>
    <dgm:cxn modelId="{99599F5A-88B0-4B4E-A01B-90E1CCB1CC1D}" type="presParOf" srcId="{4B07F816-C76D-4ECB-BC87-837488967A22}" destId="{CD9ADDAB-2BD5-462D-BC47-F8B22E3C8EE6}" srcOrd="0" destOrd="0" presId="urn:microsoft.com/office/officeart/2005/8/layout/list1"/>
    <dgm:cxn modelId="{E84DA40C-16A7-452C-93F8-D69A0BC29F96}" type="presParOf" srcId="{4B07F816-C76D-4ECB-BC87-837488967A22}" destId="{2B9693E8-32B1-4ED2-8DF1-EBD866288984}" srcOrd="1" destOrd="0" presId="urn:microsoft.com/office/officeart/2005/8/layout/list1"/>
    <dgm:cxn modelId="{A8897763-72AE-4DC6-9794-6724DBD00892}" type="presParOf" srcId="{5EF48C81-ABD2-4FE0-8E29-6DA702691E3F}" destId="{FE0A37DB-4E3E-43FE-846D-A841CB49EF5D}" srcOrd="13" destOrd="0" presId="urn:microsoft.com/office/officeart/2005/8/layout/list1"/>
    <dgm:cxn modelId="{E3C1F775-70F0-4BA9-9B77-6F7858D44D95}" type="presParOf" srcId="{5EF48C81-ABD2-4FE0-8E29-6DA702691E3F}" destId="{00933505-3202-44A6-A249-015CECC1E061}"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F1AD6E-83C5-4664-8F28-2DFCA45D243F}">
      <dsp:nvSpPr>
        <dsp:cNvPr id="0" name=""/>
        <dsp:cNvSpPr/>
      </dsp:nvSpPr>
      <dsp:spPr>
        <a:xfrm rot="5400000">
          <a:off x="4840474" y="-1846749"/>
          <a:ext cx="1100923" cy="5073822"/>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baseline="0" dirty="0" smtClean="0"/>
            <a:t>2100+ servers</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80+ different server-types</a:t>
          </a:r>
          <a:endParaRPr lang="en-US" sz="1800" kern="1200" dirty="0"/>
        </a:p>
      </dsp:txBody>
      <dsp:txXfrm rot="-5400000">
        <a:off x="2854025" y="193443"/>
        <a:ext cx="5020079" cy="993437"/>
      </dsp:txXfrm>
    </dsp:sp>
    <dsp:sp modelId="{50BF62D5-122B-4B0D-9B88-C5D7E3BD1917}">
      <dsp:nvSpPr>
        <dsp:cNvPr id="0" name=""/>
        <dsp:cNvSpPr/>
      </dsp:nvSpPr>
      <dsp:spPr>
        <a:xfrm>
          <a:off x="0" y="2085"/>
          <a:ext cx="2854025" cy="137615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rtl="0">
            <a:lnSpc>
              <a:spcPct val="90000"/>
            </a:lnSpc>
            <a:spcBef>
              <a:spcPct val="0"/>
            </a:spcBef>
            <a:spcAft>
              <a:spcPct val="35000"/>
            </a:spcAft>
          </a:pPr>
          <a:r>
            <a:rPr lang="en-US" sz="2900" kern="1200" smtClean="0"/>
            <a:t>Server Count</a:t>
          </a:r>
          <a:endParaRPr lang="en-US" sz="2900" kern="1200" dirty="0"/>
        </a:p>
      </dsp:txBody>
      <dsp:txXfrm>
        <a:off x="67178" y="69263"/>
        <a:ext cx="2719669" cy="1241798"/>
      </dsp:txXfrm>
    </dsp:sp>
    <dsp:sp modelId="{7CDFA1AB-BD38-44AD-B782-856FA8E2B408}">
      <dsp:nvSpPr>
        <dsp:cNvPr id="0" name=""/>
        <dsp:cNvSpPr/>
      </dsp:nvSpPr>
      <dsp:spPr>
        <a:xfrm rot="5400000">
          <a:off x="4840474" y="-401787"/>
          <a:ext cx="1100923" cy="5073822"/>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baseline="0" dirty="0" smtClean="0"/>
            <a:t>350+ Software Packages (rpms), many are installed across different servers types</a:t>
          </a:r>
          <a:endParaRPr lang="en-US" sz="1800" kern="1200" dirty="0"/>
        </a:p>
        <a:p>
          <a:pPr marL="171450" lvl="1" indent="-171450" algn="l" defTabSz="800100" rtl="0">
            <a:lnSpc>
              <a:spcPct val="90000"/>
            </a:lnSpc>
            <a:spcBef>
              <a:spcPct val="0"/>
            </a:spcBef>
            <a:spcAft>
              <a:spcPct val="15000"/>
            </a:spcAft>
            <a:buChar char="••"/>
          </a:pPr>
          <a:r>
            <a:rPr lang="en-US" sz="1800" kern="1200" baseline="0" smtClean="0"/>
            <a:t>Continuous software builds</a:t>
          </a:r>
          <a:endParaRPr lang="en-US" sz="1800" kern="1200"/>
        </a:p>
      </dsp:txBody>
      <dsp:txXfrm rot="-5400000">
        <a:off x="2854025" y="1638405"/>
        <a:ext cx="5020079" cy="993437"/>
      </dsp:txXfrm>
    </dsp:sp>
    <dsp:sp modelId="{A360B1A7-EEF9-459A-BAD5-24C2E8B80895}">
      <dsp:nvSpPr>
        <dsp:cNvPr id="0" name=""/>
        <dsp:cNvSpPr/>
      </dsp:nvSpPr>
      <dsp:spPr>
        <a:xfrm>
          <a:off x="0" y="1447046"/>
          <a:ext cx="2854025" cy="137615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rtl="0">
            <a:lnSpc>
              <a:spcPct val="90000"/>
            </a:lnSpc>
            <a:spcBef>
              <a:spcPct val="0"/>
            </a:spcBef>
            <a:spcAft>
              <a:spcPct val="35000"/>
            </a:spcAft>
          </a:pPr>
          <a:r>
            <a:rPr lang="en-US" sz="2900" kern="1200" dirty="0" smtClean="0"/>
            <a:t>Software Library</a:t>
          </a:r>
          <a:endParaRPr lang="en-US" sz="2900" kern="1200" dirty="0"/>
        </a:p>
      </dsp:txBody>
      <dsp:txXfrm>
        <a:off x="67178" y="1514224"/>
        <a:ext cx="2719669" cy="1241798"/>
      </dsp:txXfrm>
    </dsp:sp>
    <dsp:sp modelId="{B7BE3565-7BA6-4E16-83D6-B29244F51071}">
      <dsp:nvSpPr>
        <dsp:cNvPr id="0" name=""/>
        <dsp:cNvSpPr/>
      </dsp:nvSpPr>
      <dsp:spPr>
        <a:xfrm rot="5400000">
          <a:off x="4840474" y="1043174"/>
          <a:ext cx="1100923" cy="5073822"/>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baseline="0" dirty="0" smtClean="0"/>
            <a:t>No unified configuration management strategy</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Harmonious system which can be crippled by a misconfiguration</a:t>
          </a:r>
          <a:endParaRPr lang="en-US" sz="1800" kern="1200" dirty="0"/>
        </a:p>
      </dsp:txBody>
      <dsp:txXfrm rot="-5400000">
        <a:off x="2854025" y="3083367"/>
        <a:ext cx="5020079" cy="993437"/>
      </dsp:txXfrm>
    </dsp:sp>
    <dsp:sp modelId="{61883B42-D327-4F4F-8ECA-32EDE60071EB}">
      <dsp:nvSpPr>
        <dsp:cNvPr id="0" name=""/>
        <dsp:cNvSpPr/>
      </dsp:nvSpPr>
      <dsp:spPr>
        <a:xfrm>
          <a:off x="0" y="2892008"/>
          <a:ext cx="2854025" cy="137615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rtl="0">
            <a:lnSpc>
              <a:spcPct val="90000"/>
            </a:lnSpc>
            <a:spcBef>
              <a:spcPct val="0"/>
            </a:spcBef>
            <a:spcAft>
              <a:spcPct val="35000"/>
            </a:spcAft>
          </a:pPr>
          <a:r>
            <a:rPr lang="en-US" sz="2900" kern="1200" dirty="0" smtClean="0"/>
            <a:t>Configuration Management</a:t>
          </a:r>
          <a:endParaRPr lang="en-US" sz="2900" kern="1200" dirty="0"/>
        </a:p>
      </dsp:txBody>
      <dsp:txXfrm>
        <a:off x="67178" y="2959186"/>
        <a:ext cx="2719669" cy="12417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F4358A-37A5-4E5D-A932-B2DAF7CF8BC7}">
      <dsp:nvSpPr>
        <dsp:cNvPr id="0" name=""/>
        <dsp:cNvSpPr/>
      </dsp:nvSpPr>
      <dsp:spPr>
        <a:xfrm rot="5400000">
          <a:off x="4789179" y="-1784903"/>
          <a:ext cx="1197210" cy="5070856"/>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baseline="0" dirty="0" smtClean="0"/>
            <a:t>Datacenters in different geographies, active/active model</a:t>
          </a:r>
          <a:endParaRPr lang="en-US" sz="1600" kern="1200" dirty="0"/>
        </a:p>
        <a:p>
          <a:pPr marL="171450" lvl="1" indent="-171450" algn="l" defTabSz="711200" rtl="0">
            <a:lnSpc>
              <a:spcPct val="90000"/>
            </a:lnSpc>
            <a:spcBef>
              <a:spcPct val="0"/>
            </a:spcBef>
            <a:spcAft>
              <a:spcPct val="15000"/>
            </a:spcAft>
            <a:buChar char="••"/>
          </a:pPr>
          <a:r>
            <a:rPr lang="en-US" sz="1600" kern="1200" baseline="0" dirty="0" smtClean="0"/>
            <a:t>Production &amp; lab datacenter not 100% aligned</a:t>
          </a:r>
          <a:endParaRPr lang="en-US" sz="1600" kern="1200" dirty="0"/>
        </a:p>
      </dsp:txBody>
      <dsp:txXfrm rot="-5400000">
        <a:off x="2852357" y="210362"/>
        <a:ext cx="5012413" cy="1080324"/>
      </dsp:txXfrm>
    </dsp:sp>
    <dsp:sp modelId="{93757EC2-9F89-417A-B948-E2E2C2952019}">
      <dsp:nvSpPr>
        <dsp:cNvPr id="0" name=""/>
        <dsp:cNvSpPr/>
      </dsp:nvSpPr>
      <dsp:spPr>
        <a:xfrm>
          <a:off x="0" y="2267"/>
          <a:ext cx="2852356" cy="1496513"/>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rtl="0">
            <a:lnSpc>
              <a:spcPct val="90000"/>
            </a:lnSpc>
            <a:spcBef>
              <a:spcPct val="0"/>
            </a:spcBef>
            <a:spcAft>
              <a:spcPct val="35000"/>
            </a:spcAft>
          </a:pPr>
          <a:r>
            <a:rPr lang="en-US" sz="2600" kern="1200" smtClean="0"/>
            <a:t>Datacenters Locations</a:t>
          </a:r>
          <a:endParaRPr lang="en-US" sz="2600" kern="1200" dirty="0"/>
        </a:p>
      </dsp:txBody>
      <dsp:txXfrm>
        <a:off x="73054" y="75321"/>
        <a:ext cx="2706248" cy="1350405"/>
      </dsp:txXfrm>
    </dsp:sp>
    <dsp:sp modelId="{3B26FB7C-8EE5-4A23-AF7C-E3FD631B567E}">
      <dsp:nvSpPr>
        <dsp:cNvPr id="0" name=""/>
        <dsp:cNvSpPr/>
      </dsp:nvSpPr>
      <dsp:spPr>
        <a:xfrm rot="5400000">
          <a:off x="4789179" y="-213564"/>
          <a:ext cx="1197210" cy="5070856"/>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baseline="0" dirty="0" smtClean="0"/>
            <a:t>Network segmentation driven by security requirements </a:t>
          </a:r>
          <a:endParaRPr lang="en-US" sz="1600" kern="1200" dirty="0"/>
        </a:p>
        <a:p>
          <a:pPr marL="171450" lvl="1" indent="-171450" algn="l" defTabSz="711200" rtl="0">
            <a:lnSpc>
              <a:spcPct val="90000"/>
            </a:lnSpc>
            <a:spcBef>
              <a:spcPct val="0"/>
            </a:spcBef>
            <a:spcAft>
              <a:spcPct val="15000"/>
            </a:spcAft>
            <a:buChar char="••"/>
          </a:pPr>
          <a:r>
            <a:rPr lang="en-US" sz="1600" kern="1200" baseline="0" dirty="0" smtClean="0"/>
            <a:t>Segmentation between production and lab silos</a:t>
          </a:r>
          <a:endParaRPr lang="en-US" sz="1600" kern="1200" dirty="0"/>
        </a:p>
        <a:p>
          <a:pPr marL="171450" lvl="1" indent="-171450" algn="l" defTabSz="711200" rtl="0">
            <a:lnSpc>
              <a:spcPct val="90000"/>
            </a:lnSpc>
            <a:spcBef>
              <a:spcPct val="0"/>
            </a:spcBef>
            <a:spcAft>
              <a:spcPct val="15000"/>
            </a:spcAft>
            <a:buChar char="••"/>
          </a:pPr>
          <a:r>
            <a:rPr lang="en-US" sz="1600" kern="1200" baseline="0" smtClean="0"/>
            <a:t>Segmentation between networks within silos </a:t>
          </a:r>
          <a:endParaRPr lang="en-US" sz="1600" kern="1200"/>
        </a:p>
      </dsp:txBody>
      <dsp:txXfrm rot="-5400000">
        <a:off x="2852357" y="1781701"/>
        <a:ext cx="5012413" cy="1080324"/>
      </dsp:txXfrm>
    </dsp:sp>
    <dsp:sp modelId="{C260DD02-19A7-449B-9761-2CE273D5E582}">
      <dsp:nvSpPr>
        <dsp:cNvPr id="0" name=""/>
        <dsp:cNvSpPr/>
      </dsp:nvSpPr>
      <dsp:spPr>
        <a:xfrm>
          <a:off x="0" y="1573606"/>
          <a:ext cx="2852356" cy="1496513"/>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rtl="0">
            <a:lnSpc>
              <a:spcPct val="90000"/>
            </a:lnSpc>
            <a:spcBef>
              <a:spcPct val="0"/>
            </a:spcBef>
            <a:spcAft>
              <a:spcPct val="35000"/>
            </a:spcAft>
          </a:pPr>
          <a:r>
            <a:rPr lang="en-US" sz="2600" kern="1200" smtClean="0"/>
            <a:t>Network Segmentation</a:t>
          </a:r>
          <a:endParaRPr lang="en-US" sz="2600" kern="1200"/>
        </a:p>
      </dsp:txBody>
      <dsp:txXfrm>
        <a:off x="73054" y="1646660"/>
        <a:ext cx="2706248" cy="1350405"/>
      </dsp:txXfrm>
    </dsp:sp>
    <dsp:sp modelId="{280CD482-2145-4ED6-A14D-D0915748AC1F}">
      <dsp:nvSpPr>
        <dsp:cNvPr id="0" name=""/>
        <dsp:cNvSpPr/>
      </dsp:nvSpPr>
      <dsp:spPr>
        <a:xfrm rot="5400000">
          <a:off x="4789179" y="1357774"/>
          <a:ext cx="1197210" cy="5070856"/>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baseline="0" dirty="0" smtClean="0"/>
            <a:t>Bare metal server builds &amp; server management not performed by the same team</a:t>
          </a:r>
          <a:endParaRPr lang="en-US" sz="1600" kern="1200" dirty="0"/>
        </a:p>
        <a:p>
          <a:pPr marL="171450" lvl="1" indent="-171450" algn="l" defTabSz="711200" rtl="0">
            <a:lnSpc>
              <a:spcPct val="90000"/>
            </a:lnSpc>
            <a:spcBef>
              <a:spcPct val="0"/>
            </a:spcBef>
            <a:spcAft>
              <a:spcPct val="15000"/>
            </a:spcAft>
            <a:buChar char="••"/>
          </a:pPr>
          <a:r>
            <a:rPr lang="en-US" sz="1600" kern="1200" baseline="0" dirty="0" smtClean="0"/>
            <a:t>Software deployment &amp; configuration responsibility falls on different teams depending on environment</a:t>
          </a:r>
          <a:endParaRPr lang="en-US" sz="1600" kern="1200" dirty="0"/>
        </a:p>
      </dsp:txBody>
      <dsp:txXfrm rot="-5400000">
        <a:off x="2852357" y="3353040"/>
        <a:ext cx="5012413" cy="1080324"/>
      </dsp:txXfrm>
    </dsp:sp>
    <dsp:sp modelId="{0FB4881C-0A05-433A-940A-ECB6B9860FC2}">
      <dsp:nvSpPr>
        <dsp:cNvPr id="0" name=""/>
        <dsp:cNvSpPr/>
      </dsp:nvSpPr>
      <dsp:spPr>
        <a:xfrm>
          <a:off x="0" y="3144945"/>
          <a:ext cx="2852356" cy="1496513"/>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rtl="0">
            <a:lnSpc>
              <a:spcPct val="90000"/>
            </a:lnSpc>
            <a:spcBef>
              <a:spcPct val="0"/>
            </a:spcBef>
            <a:spcAft>
              <a:spcPct val="35000"/>
            </a:spcAft>
          </a:pPr>
          <a:r>
            <a:rPr lang="en-US" sz="2600" kern="1200" dirty="0" err="1" smtClean="0"/>
            <a:t>Siloed</a:t>
          </a:r>
          <a:r>
            <a:rPr lang="en-US" sz="2600" kern="1200" dirty="0" smtClean="0"/>
            <a:t> System Responsibilities</a:t>
          </a:r>
          <a:endParaRPr lang="en-US" sz="2600" kern="1200" dirty="0"/>
        </a:p>
      </dsp:txBody>
      <dsp:txXfrm>
        <a:off x="73054" y="3217999"/>
        <a:ext cx="2706248" cy="13504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DE108A-9DBA-4185-A706-DFE4A468F337}">
      <dsp:nvSpPr>
        <dsp:cNvPr id="0" name=""/>
        <dsp:cNvSpPr/>
      </dsp:nvSpPr>
      <dsp:spPr>
        <a:xfrm rot="5400000">
          <a:off x="5032656" y="-1892455"/>
          <a:ext cx="1215151" cy="530845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baseline="0" dirty="0" smtClean="0"/>
            <a:t>Simple solution to deploy or update servers based on their server type</a:t>
          </a:r>
          <a:endParaRPr lang="en-US" sz="2000" kern="1200" dirty="0"/>
        </a:p>
        <a:p>
          <a:pPr marL="228600" lvl="1" indent="-228600" algn="l" defTabSz="889000" rtl="0">
            <a:lnSpc>
              <a:spcPct val="90000"/>
            </a:lnSpc>
            <a:spcBef>
              <a:spcPct val="0"/>
            </a:spcBef>
            <a:spcAft>
              <a:spcPct val="15000"/>
            </a:spcAft>
            <a:buChar char="••"/>
          </a:pPr>
          <a:r>
            <a:rPr lang="en-US" sz="2000" kern="1200" baseline="0" dirty="0" smtClean="0"/>
            <a:t>Aligned daily update time</a:t>
          </a:r>
          <a:endParaRPr lang="en-US" sz="2000" kern="1200" dirty="0"/>
        </a:p>
      </dsp:txBody>
      <dsp:txXfrm rot="-5400000">
        <a:off x="2986005" y="213515"/>
        <a:ext cx="5249135" cy="1096513"/>
      </dsp:txXfrm>
    </dsp:sp>
    <dsp:sp modelId="{3FE98487-2EFF-4FE2-ADF0-04A5B35E7FE1}">
      <dsp:nvSpPr>
        <dsp:cNvPr id="0" name=""/>
        <dsp:cNvSpPr/>
      </dsp:nvSpPr>
      <dsp:spPr>
        <a:xfrm>
          <a:off x="0" y="2301"/>
          <a:ext cx="2986005" cy="1518939"/>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rtl="0">
            <a:lnSpc>
              <a:spcPct val="90000"/>
            </a:lnSpc>
            <a:spcBef>
              <a:spcPct val="0"/>
            </a:spcBef>
            <a:spcAft>
              <a:spcPct val="35000"/>
            </a:spcAft>
          </a:pPr>
          <a:r>
            <a:rPr lang="en-US" sz="2600" kern="1200" dirty="0" smtClean="0"/>
            <a:t>Test Environment Deployments</a:t>
          </a:r>
          <a:endParaRPr lang="en-US" sz="2600" kern="1200" dirty="0"/>
        </a:p>
      </dsp:txBody>
      <dsp:txXfrm>
        <a:off x="74148" y="76449"/>
        <a:ext cx="2837709" cy="1370643"/>
      </dsp:txXfrm>
    </dsp:sp>
    <dsp:sp modelId="{3F647247-99C6-4A93-9E67-4BC913DBF43A}">
      <dsp:nvSpPr>
        <dsp:cNvPr id="0" name=""/>
        <dsp:cNvSpPr/>
      </dsp:nvSpPr>
      <dsp:spPr>
        <a:xfrm rot="5400000">
          <a:off x="5032656" y="-297569"/>
          <a:ext cx="1215151" cy="530845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baseline="0" dirty="0" smtClean="0"/>
            <a:t>Decommissioned unused servers</a:t>
          </a:r>
          <a:endParaRPr lang="en-US" sz="2000" kern="1200" dirty="0"/>
        </a:p>
        <a:p>
          <a:pPr marL="228600" lvl="1" indent="-228600" algn="l" defTabSz="889000" rtl="0">
            <a:lnSpc>
              <a:spcPct val="90000"/>
            </a:lnSpc>
            <a:spcBef>
              <a:spcPct val="0"/>
            </a:spcBef>
            <a:spcAft>
              <a:spcPct val="15000"/>
            </a:spcAft>
            <a:buChar char="••"/>
          </a:pPr>
          <a:r>
            <a:rPr lang="en-US" sz="2000" kern="1200" baseline="0" smtClean="0"/>
            <a:t>Rebuilt where needed</a:t>
          </a:r>
          <a:endParaRPr lang="en-US" sz="2000" kern="1200"/>
        </a:p>
        <a:p>
          <a:pPr marL="228600" lvl="1" indent="-228600" algn="l" defTabSz="889000" rtl="0">
            <a:lnSpc>
              <a:spcPct val="90000"/>
            </a:lnSpc>
            <a:spcBef>
              <a:spcPct val="0"/>
            </a:spcBef>
            <a:spcAft>
              <a:spcPct val="15000"/>
            </a:spcAft>
            <a:buChar char="••"/>
          </a:pPr>
          <a:r>
            <a:rPr lang="en-US" sz="2000" kern="1200" baseline="0" dirty="0" smtClean="0"/>
            <a:t>Increased server count where lacking</a:t>
          </a:r>
          <a:endParaRPr lang="en-US" sz="2000" kern="1200" dirty="0"/>
        </a:p>
      </dsp:txBody>
      <dsp:txXfrm rot="-5400000">
        <a:off x="2986005" y="1808401"/>
        <a:ext cx="5249135" cy="1096513"/>
      </dsp:txXfrm>
    </dsp:sp>
    <dsp:sp modelId="{ED1FBB59-ADD9-4758-A197-4221EA485C10}">
      <dsp:nvSpPr>
        <dsp:cNvPr id="0" name=""/>
        <dsp:cNvSpPr/>
      </dsp:nvSpPr>
      <dsp:spPr>
        <a:xfrm>
          <a:off x="0" y="1597188"/>
          <a:ext cx="2986005" cy="1518939"/>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rtl="0">
            <a:lnSpc>
              <a:spcPct val="90000"/>
            </a:lnSpc>
            <a:spcBef>
              <a:spcPct val="0"/>
            </a:spcBef>
            <a:spcAft>
              <a:spcPct val="35000"/>
            </a:spcAft>
          </a:pPr>
          <a:r>
            <a:rPr lang="en-US" sz="2600" kern="1200" smtClean="0"/>
            <a:t>Alignment of Environments</a:t>
          </a:r>
          <a:endParaRPr lang="en-US" sz="2600" kern="1200"/>
        </a:p>
      </dsp:txBody>
      <dsp:txXfrm>
        <a:off x="74148" y="1671336"/>
        <a:ext cx="2837709" cy="1370643"/>
      </dsp:txXfrm>
    </dsp:sp>
    <dsp:sp modelId="{2A674569-038A-4E6D-874F-04F2BB79AA3F}">
      <dsp:nvSpPr>
        <dsp:cNvPr id="0" name=""/>
        <dsp:cNvSpPr/>
      </dsp:nvSpPr>
      <dsp:spPr>
        <a:xfrm rot="5400000">
          <a:off x="5032656" y="1297317"/>
          <a:ext cx="1215151" cy="530845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baseline="0" dirty="0" smtClean="0"/>
            <a:t>Reduce down time due to non software related issues</a:t>
          </a:r>
          <a:endParaRPr lang="en-US" sz="2000" kern="1200" dirty="0"/>
        </a:p>
      </dsp:txBody>
      <dsp:txXfrm rot="-5400000">
        <a:off x="2986005" y="3403288"/>
        <a:ext cx="5249135" cy="1096513"/>
      </dsp:txXfrm>
    </dsp:sp>
    <dsp:sp modelId="{5606356B-32C5-4D76-A9EA-6F7D06AF3B80}">
      <dsp:nvSpPr>
        <dsp:cNvPr id="0" name=""/>
        <dsp:cNvSpPr/>
      </dsp:nvSpPr>
      <dsp:spPr>
        <a:xfrm>
          <a:off x="0" y="3192074"/>
          <a:ext cx="2986005" cy="1518939"/>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rtl="0">
            <a:lnSpc>
              <a:spcPct val="90000"/>
            </a:lnSpc>
            <a:spcBef>
              <a:spcPct val="0"/>
            </a:spcBef>
            <a:spcAft>
              <a:spcPct val="35000"/>
            </a:spcAft>
          </a:pPr>
          <a:r>
            <a:rPr lang="en-US" sz="2600" kern="1200" smtClean="0"/>
            <a:t>Test Environment Platform Availability</a:t>
          </a:r>
          <a:endParaRPr lang="en-US" sz="2600" kern="1200"/>
        </a:p>
      </dsp:txBody>
      <dsp:txXfrm>
        <a:off x="74148" y="3266222"/>
        <a:ext cx="2837709" cy="13706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B33D5A-CF02-4919-9894-3A8B4FA21BD8}">
      <dsp:nvSpPr>
        <dsp:cNvPr id="0" name=""/>
        <dsp:cNvSpPr/>
      </dsp:nvSpPr>
      <dsp:spPr>
        <a:xfrm rot="5400000">
          <a:off x="5048562" y="-1882884"/>
          <a:ext cx="1258707" cy="5343921"/>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baseline="0" dirty="0" smtClean="0"/>
            <a:t>Move to value based release schedules</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Prioritize customer facing components</a:t>
          </a:r>
          <a:endParaRPr lang="en-US" sz="1800" kern="1200" dirty="0"/>
        </a:p>
      </dsp:txBody>
      <dsp:txXfrm rot="-5400000">
        <a:off x="3005956" y="221167"/>
        <a:ext cx="5282476" cy="1135817"/>
      </dsp:txXfrm>
    </dsp:sp>
    <dsp:sp modelId="{14F89895-F05C-4037-AED8-F6F09CB42C79}">
      <dsp:nvSpPr>
        <dsp:cNvPr id="0" name=""/>
        <dsp:cNvSpPr/>
      </dsp:nvSpPr>
      <dsp:spPr>
        <a:xfrm>
          <a:off x="0" y="2383"/>
          <a:ext cx="3005955" cy="157338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dirty="0" smtClean="0"/>
            <a:t>Release Cadence</a:t>
          </a:r>
          <a:endParaRPr lang="en-US" sz="2400" kern="1200" dirty="0"/>
        </a:p>
      </dsp:txBody>
      <dsp:txXfrm>
        <a:off x="76806" y="79189"/>
        <a:ext cx="2852343" cy="1419772"/>
      </dsp:txXfrm>
    </dsp:sp>
    <dsp:sp modelId="{98828335-0E86-45B7-ABB8-061F0E913D60}">
      <dsp:nvSpPr>
        <dsp:cNvPr id="0" name=""/>
        <dsp:cNvSpPr/>
      </dsp:nvSpPr>
      <dsp:spPr>
        <a:xfrm rot="5400000">
          <a:off x="5048562" y="-230831"/>
          <a:ext cx="1258707" cy="5343921"/>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baseline="0" dirty="0" smtClean="0"/>
            <a:t>Repeatable deployment process</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Orchestration that takes into account server status and roles</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Executable by anyone authorized</a:t>
          </a:r>
          <a:endParaRPr lang="en-US" sz="1600" kern="1200" dirty="0"/>
        </a:p>
      </dsp:txBody>
      <dsp:txXfrm rot="-5400000">
        <a:off x="3005956" y="1873220"/>
        <a:ext cx="5282476" cy="1135817"/>
      </dsp:txXfrm>
    </dsp:sp>
    <dsp:sp modelId="{C5CD3F76-7E96-44E0-8545-A9137A6E1BB6}">
      <dsp:nvSpPr>
        <dsp:cNvPr id="0" name=""/>
        <dsp:cNvSpPr/>
      </dsp:nvSpPr>
      <dsp:spPr>
        <a:xfrm>
          <a:off x="0" y="1654437"/>
          <a:ext cx="3005955" cy="157338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baseline="0" dirty="0" smtClean="0"/>
            <a:t>Unified Deployment and Configuration Model</a:t>
          </a:r>
          <a:endParaRPr lang="en-US" sz="2400" kern="1200" dirty="0"/>
        </a:p>
      </dsp:txBody>
      <dsp:txXfrm>
        <a:off x="76806" y="1731243"/>
        <a:ext cx="2852343" cy="1419772"/>
      </dsp:txXfrm>
    </dsp:sp>
    <dsp:sp modelId="{F2304A0B-578E-431F-B316-A01B4BB548F4}">
      <dsp:nvSpPr>
        <dsp:cNvPr id="0" name=""/>
        <dsp:cNvSpPr/>
      </dsp:nvSpPr>
      <dsp:spPr>
        <a:xfrm rot="5400000">
          <a:off x="5048562" y="1421222"/>
          <a:ext cx="1258707" cy="5343921"/>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baseline="0" dirty="0" smtClean="0"/>
            <a:t>Actionable automated process</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Reduce release prep work</a:t>
          </a:r>
          <a:endParaRPr lang="en-US" sz="1800" kern="1200" dirty="0"/>
        </a:p>
        <a:p>
          <a:pPr marL="171450" lvl="1" indent="-171450" algn="l" defTabSz="800100" rtl="0">
            <a:lnSpc>
              <a:spcPct val="90000"/>
            </a:lnSpc>
            <a:spcBef>
              <a:spcPct val="0"/>
            </a:spcBef>
            <a:spcAft>
              <a:spcPct val="15000"/>
            </a:spcAft>
            <a:buChar char="••"/>
          </a:pPr>
          <a:r>
            <a:rPr lang="en-US" sz="1800" kern="1200" baseline="0" dirty="0" smtClean="0"/>
            <a:t>Eliminate multiple deployment plans tracked by different teams</a:t>
          </a:r>
          <a:endParaRPr lang="en-US" sz="1800" kern="1200" dirty="0"/>
        </a:p>
      </dsp:txBody>
      <dsp:txXfrm rot="-5400000">
        <a:off x="3005956" y="3525274"/>
        <a:ext cx="5282476" cy="1135817"/>
      </dsp:txXfrm>
    </dsp:sp>
    <dsp:sp modelId="{2E27DE25-1BB1-45E1-AC29-AB1C916F859A}">
      <dsp:nvSpPr>
        <dsp:cNvPr id="0" name=""/>
        <dsp:cNvSpPr/>
      </dsp:nvSpPr>
      <dsp:spPr>
        <a:xfrm>
          <a:off x="0" y="3306490"/>
          <a:ext cx="3005955" cy="157338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kern="1200" baseline="0" dirty="0" smtClean="0"/>
            <a:t>Knowledge Transfer Efficiency</a:t>
          </a:r>
          <a:endParaRPr lang="en-US" sz="2400" kern="1200" dirty="0"/>
        </a:p>
      </dsp:txBody>
      <dsp:txXfrm>
        <a:off x="76806" y="3383296"/>
        <a:ext cx="2852343" cy="14197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B3B594-46C1-4FFE-B587-2EDAD31D06DB}">
      <dsp:nvSpPr>
        <dsp:cNvPr id="0" name=""/>
        <dsp:cNvSpPr/>
      </dsp:nvSpPr>
      <dsp:spPr>
        <a:xfrm>
          <a:off x="3129198" y="3330578"/>
          <a:ext cx="2122619" cy="1856264"/>
        </a:xfrm>
        <a:prstGeom prst="ellipse">
          <a:avLst/>
        </a:prstGeom>
        <a:solidFill>
          <a:schemeClr val="accent3"/>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rtl="0">
            <a:lnSpc>
              <a:spcPct val="90000"/>
            </a:lnSpc>
            <a:spcBef>
              <a:spcPct val="0"/>
            </a:spcBef>
            <a:spcAft>
              <a:spcPct val="35000"/>
            </a:spcAft>
          </a:pPr>
          <a:r>
            <a:rPr lang="en-US" sz="2000" kern="1200" dirty="0" smtClean="0"/>
            <a:t>Deployment Process</a:t>
          </a:r>
          <a:endParaRPr lang="en-US" sz="2000" kern="1200" dirty="0"/>
        </a:p>
      </dsp:txBody>
      <dsp:txXfrm>
        <a:off x="3440048" y="3602422"/>
        <a:ext cx="1500919" cy="1312576"/>
      </dsp:txXfrm>
    </dsp:sp>
    <dsp:sp modelId="{C079C9D6-550C-4734-B9BB-D0C9E581B17E}">
      <dsp:nvSpPr>
        <dsp:cNvPr id="0" name=""/>
        <dsp:cNvSpPr/>
      </dsp:nvSpPr>
      <dsp:spPr>
        <a:xfrm rot="10800000">
          <a:off x="653055" y="3994193"/>
          <a:ext cx="2339954"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38AFCC5-8317-44A8-8FBC-F40CB1DD0F98}">
      <dsp:nvSpPr>
        <dsp:cNvPr id="0" name=""/>
        <dsp:cNvSpPr/>
      </dsp:nvSpPr>
      <dsp:spPr>
        <a:xfrm>
          <a:off x="-103465" y="3612516"/>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dirty="0" smtClean="0"/>
            <a:t>Condition Capable</a:t>
          </a:r>
          <a:endParaRPr lang="en-US" sz="1800" kern="1200" dirty="0"/>
        </a:p>
      </dsp:txBody>
      <dsp:txXfrm>
        <a:off x="-65612" y="3650369"/>
        <a:ext cx="1437336" cy="1216682"/>
      </dsp:txXfrm>
    </dsp:sp>
    <dsp:sp modelId="{D432E690-1C79-475D-A535-43BBB4A51E89}">
      <dsp:nvSpPr>
        <dsp:cNvPr id="0" name=""/>
        <dsp:cNvSpPr/>
      </dsp:nvSpPr>
      <dsp:spPr>
        <a:xfrm rot="12213284">
          <a:off x="820647" y="3046514"/>
          <a:ext cx="2392062"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912734-C01B-406D-AEBD-69E2AFAE0C85}">
      <dsp:nvSpPr>
        <dsp:cNvPr id="0" name=""/>
        <dsp:cNvSpPr/>
      </dsp:nvSpPr>
      <dsp:spPr>
        <a:xfrm>
          <a:off x="163781" y="2186874"/>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baseline="0" dirty="0" smtClean="0"/>
            <a:t>Fully or partially automated transitions</a:t>
          </a:r>
          <a:endParaRPr lang="en-US" sz="1800" kern="1200" dirty="0"/>
        </a:p>
      </dsp:txBody>
      <dsp:txXfrm>
        <a:off x="201634" y="2224727"/>
        <a:ext cx="1437336" cy="1216682"/>
      </dsp:txXfrm>
    </dsp:sp>
    <dsp:sp modelId="{28E44AE4-00B6-4098-BA51-EC98C5F4E08A}">
      <dsp:nvSpPr>
        <dsp:cNvPr id="0" name=""/>
        <dsp:cNvSpPr/>
      </dsp:nvSpPr>
      <dsp:spPr>
        <a:xfrm rot="13773178">
          <a:off x="1377290" y="2176494"/>
          <a:ext cx="2527321"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DE9DD46-D524-4DB3-9D8E-86203A8981A2}">
      <dsp:nvSpPr>
        <dsp:cNvPr id="0" name=""/>
        <dsp:cNvSpPr/>
      </dsp:nvSpPr>
      <dsp:spPr>
        <a:xfrm>
          <a:off x="1064636" y="833164"/>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baseline="0" dirty="0" smtClean="0"/>
            <a:t>Behavior is environment indifferent</a:t>
          </a:r>
          <a:endParaRPr lang="en-US" sz="1800" kern="1200" dirty="0"/>
        </a:p>
      </dsp:txBody>
      <dsp:txXfrm>
        <a:off x="1102489" y="871017"/>
        <a:ext cx="1437336" cy="1216682"/>
      </dsp:txXfrm>
    </dsp:sp>
    <dsp:sp modelId="{11595297-370D-4B1F-AED4-34C052B8D430}">
      <dsp:nvSpPr>
        <dsp:cNvPr id="0" name=""/>
        <dsp:cNvSpPr/>
      </dsp:nvSpPr>
      <dsp:spPr>
        <a:xfrm rot="15428571">
          <a:off x="2446797" y="1744912"/>
          <a:ext cx="2460654"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7141752-5084-4233-A491-8A6C5025EA02}">
      <dsp:nvSpPr>
        <dsp:cNvPr id="0" name=""/>
        <dsp:cNvSpPr/>
      </dsp:nvSpPr>
      <dsp:spPr>
        <a:xfrm>
          <a:off x="2646829" y="163755"/>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dirty="0" smtClean="0"/>
            <a:t>Pre- deployment dry-run</a:t>
          </a:r>
          <a:endParaRPr lang="en-US" sz="1800" kern="1200" dirty="0"/>
        </a:p>
      </dsp:txBody>
      <dsp:txXfrm>
        <a:off x="2684682" y="201608"/>
        <a:ext cx="1437336" cy="1216682"/>
      </dsp:txXfrm>
    </dsp:sp>
    <dsp:sp modelId="{70BA84D4-ABA0-448B-89F6-ED22E81E6E8C}">
      <dsp:nvSpPr>
        <dsp:cNvPr id="0" name=""/>
        <dsp:cNvSpPr/>
      </dsp:nvSpPr>
      <dsp:spPr>
        <a:xfrm rot="17010120">
          <a:off x="3495907" y="1745787"/>
          <a:ext cx="2468954"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F482FDC-C142-4482-8533-D62326386394}">
      <dsp:nvSpPr>
        <dsp:cNvPr id="0" name=""/>
        <dsp:cNvSpPr/>
      </dsp:nvSpPr>
      <dsp:spPr>
        <a:xfrm>
          <a:off x="4262088" y="163752"/>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baseline="0" dirty="0" smtClean="0"/>
            <a:t>Performs new validations</a:t>
          </a:r>
          <a:endParaRPr lang="en-US" sz="1800" kern="1200" dirty="0"/>
        </a:p>
      </dsp:txBody>
      <dsp:txXfrm>
        <a:off x="4299941" y="201605"/>
        <a:ext cx="1437336" cy="1216682"/>
      </dsp:txXfrm>
    </dsp:sp>
    <dsp:sp modelId="{2537AB4D-13FC-465C-84D2-51B67B3D5A32}">
      <dsp:nvSpPr>
        <dsp:cNvPr id="0" name=""/>
        <dsp:cNvSpPr/>
      </dsp:nvSpPr>
      <dsp:spPr>
        <a:xfrm rot="18652040">
          <a:off x="4494376" y="2199968"/>
          <a:ext cx="2497095"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30EB0E-D006-4BFB-9F97-24D5166EA7B9}">
      <dsp:nvSpPr>
        <dsp:cNvPr id="0" name=""/>
        <dsp:cNvSpPr/>
      </dsp:nvSpPr>
      <dsp:spPr>
        <a:xfrm>
          <a:off x="5803339" y="874107"/>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baseline="0" dirty="0" smtClean="0"/>
            <a:t>Follow &amp; track deploy process</a:t>
          </a:r>
          <a:endParaRPr lang="en-US" sz="1800" kern="1200" dirty="0"/>
        </a:p>
      </dsp:txBody>
      <dsp:txXfrm>
        <a:off x="5841192" y="911960"/>
        <a:ext cx="1437336" cy="1216682"/>
      </dsp:txXfrm>
    </dsp:sp>
    <dsp:sp modelId="{6F59D4EA-6399-4B80-A381-4A05DEAD1329}">
      <dsp:nvSpPr>
        <dsp:cNvPr id="0" name=""/>
        <dsp:cNvSpPr/>
      </dsp:nvSpPr>
      <dsp:spPr>
        <a:xfrm rot="20208721">
          <a:off x="5173911" y="3078060"/>
          <a:ext cx="2310661"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9DD1D4-A091-4E4B-9693-09F79E9EAE97}">
      <dsp:nvSpPr>
        <dsp:cNvPr id="0" name=""/>
        <dsp:cNvSpPr/>
      </dsp:nvSpPr>
      <dsp:spPr>
        <a:xfrm>
          <a:off x="6634722" y="2241473"/>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baseline="0" dirty="0" smtClean="0"/>
            <a:t>Success or failure notification</a:t>
          </a:r>
          <a:endParaRPr lang="en-US" sz="1800" kern="1200" dirty="0"/>
        </a:p>
      </dsp:txBody>
      <dsp:txXfrm>
        <a:off x="6672575" y="2279326"/>
        <a:ext cx="1437336" cy="1216682"/>
      </dsp:txXfrm>
    </dsp:sp>
    <dsp:sp modelId="{53C668F5-9551-4D50-A517-779D51AD0F0A}">
      <dsp:nvSpPr>
        <dsp:cNvPr id="0" name=""/>
        <dsp:cNvSpPr/>
      </dsp:nvSpPr>
      <dsp:spPr>
        <a:xfrm>
          <a:off x="5388005" y="3994193"/>
          <a:ext cx="2339954" cy="529035"/>
        </a:xfrm>
        <a:prstGeom prst="lef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AD5A93-853E-493E-A570-C14F1FE71FE3}">
      <dsp:nvSpPr>
        <dsp:cNvPr id="0" name=""/>
        <dsp:cNvSpPr/>
      </dsp:nvSpPr>
      <dsp:spPr>
        <a:xfrm>
          <a:off x="6971438" y="3612516"/>
          <a:ext cx="1513042" cy="129238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rtl="0">
            <a:lnSpc>
              <a:spcPct val="90000"/>
            </a:lnSpc>
            <a:spcBef>
              <a:spcPct val="0"/>
            </a:spcBef>
            <a:spcAft>
              <a:spcPct val="35000"/>
            </a:spcAft>
          </a:pPr>
          <a:r>
            <a:rPr lang="en-US" sz="1800" kern="1200" baseline="0" smtClean="0"/>
            <a:t>Has audit trail</a:t>
          </a:r>
          <a:endParaRPr lang="en-US" sz="1800" kern="1200"/>
        </a:p>
      </dsp:txBody>
      <dsp:txXfrm>
        <a:off x="7009291" y="3650369"/>
        <a:ext cx="1437336" cy="12166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E92FC2-F1B6-4C62-B216-6699279337B4}">
      <dsp:nvSpPr>
        <dsp:cNvPr id="0" name=""/>
        <dsp:cNvSpPr/>
      </dsp:nvSpPr>
      <dsp:spPr>
        <a:xfrm>
          <a:off x="912" y="988"/>
          <a:ext cx="8729431" cy="1537854"/>
        </a:xfrm>
        <a:prstGeom prst="roundRect">
          <a:avLst>
            <a:gd name="adj" fmla="val 1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rtl="0">
            <a:lnSpc>
              <a:spcPct val="90000"/>
            </a:lnSpc>
            <a:spcBef>
              <a:spcPct val="0"/>
            </a:spcBef>
            <a:spcAft>
              <a:spcPct val="35000"/>
            </a:spcAft>
          </a:pPr>
          <a:r>
            <a:rPr lang="en-US" sz="5500" kern="1200" dirty="0" smtClean="0"/>
            <a:t>Release Deployment Plan</a:t>
          </a:r>
          <a:endParaRPr lang="en-US" sz="5500" kern="1200" dirty="0"/>
        </a:p>
      </dsp:txBody>
      <dsp:txXfrm>
        <a:off x="45954" y="46030"/>
        <a:ext cx="8639347" cy="1447770"/>
      </dsp:txXfrm>
    </dsp:sp>
    <dsp:sp modelId="{DB11D4B8-607D-4DAE-AE9E-5EEB052CCD5A}">
      <dsp:nvSpPr>
        <dsp:cNvPr id="0" name=""/>
        <dsp:cNvSpPr/>
      </dsp:nvSpPr>
      <dsp:spPr>
        <a:xfrm>
          <a:off x="9433" y="1691640"/>
          <a:ext cx="6658925"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en-US" sz="2900" kern="1200" baseline="0" dirty="0" smtClean="0"/>
            <a:t>Existing Approach </a:t>
          </a:r>
          <a:r>
            <a:rPr lang="en-US" sz="2000" kern="1200" baseline="0" dirty="0" smtClean="0"/>
            <a:t>(weeks)</a:t>
          </a:r>
          <a:endParaRPr lang="en-US" sz="2000" kern="1200" dirty="0"/>
        </a:p>
      </dsp:txBody>
      <dsp:txXfrm>
        <a:off x="54475" y="1736682"/>
        <a:ext cx="6568841" cy="1447770"/>
      </dsp:txXfrm>
    </dsp:sp>
    <dsp:sp modelId="{3080A112-045E-4D7B-A757-A2501DE5F3AD}">
      <dsp:nvSpPr>
        <dsp:cNvPr id="0" name=""/>
        <dsp:cNvSpPr/>
      </dsp:nvSpPr>
      <dsp:spPr>
        <a:xfrm>
          <a:off x="9433" y="3382291"/>
          <a:ext cx="1204860"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New </a:t>
          </a:r>
        </a:p>
        <a:p>
          <a:pPr lvl="0" algn="ctr" defTabSz="711200" rtl="0">
            <a:lnSpc>
              <a:spcPct val="90000"/>
            </a:lnSpc>
            <a:spcBef>
              <a:spcPct val="0"/>
            </a:spcBef>
            <a:spcAft>
              <a:spcPct val="35000"/>
            </a:spcAft>
          </a:pPr>
          <a:r>
            <a:rPr lang="en-US" sz="1600" kern="1200" dirty="0" smtClean="0"/>
            <a:t>plan every release</a:t>
          </a:r>
          <a:endParaRPr lang="en-US" sz="1600" kern="1200" dirty="0"/>
        </a:p>
      </dsp:txBody>
      <dsp:txXfrm>
        <a:off x="44722" y="3417580"/>
        <a:ext cx="1134282" cy="1467276"/>
      </dsp:txXfrm>
    </dsp:sp>
    <dsp:sp modelId="{CFA1536E-9F86-4EBD-A8B4-60022070C557}">
      <dsp:nvSpPr>
        <dsp:cNvPr id="0" name=""/>
        <dsp:cNvSpPr/>
      </dsp:nvSpPr>
      <dsp:spPr>
        <a:xfrm>
          <a:off x="1254860" y="3382291"/>
          <a:ext cx="1091842"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Required </a:t>
          </a:r>
          <a:r>
            <a:rPr lang="en-US" sz="1600" kern="1200" baseline="0" dirty="0" err="1" smtClean="0"/>
            <a:t>config</a:t>
          </a:r>
          <a:r>
            <a:rPr lang="en-US" sz="1600" kern="1200" baseline="0" dirty="0" smtClean="0"/>
            <a:t> changes?</a:t>
          </a:r>
          <a:endParaRPr lang="en-US" sz="1600" kern="1200" dirty="0"/>
        </a:p>
      </dsp:txBody>
      <dsp:txXfrm>
        <a:off x="1286839" y="3414270"/>
        <a:ext cx="1027884" cy="1473896"/>
      </dsp:txXfrm>
    </dsp:sp>
    <dsp:sp modelId="{C28FED14-D8E8-44EA-9C26-DDD0062034EF}">
      <dsp:nvSpPr>
        <dsp:cNvPr id="0" name=""/>
        <dsp:cNvSpPr/>
      </dsp:nvSpPr>
      <dsp:spPr>
        <a:xfrm>
          <a:off x="2387270" y="3382291"/>
          <a:ext cx="997495"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What software to deploy?</a:t>
          </a:r>
          <a:endParaRPr lang="en-US" sz="1600" kern="1200" dirty="0"/>
        </a:p>
      </dsp:txBody>
      <dsp:txXfrm>
        <a:off x="2416486" y="3411507"/>
        <a:ext cx="939063" cy="1479422"/>
      </dsp:txXfrm>
    </dsp:sp>
    <dsp:sp modelId="{8733DA45-4511-4F78-AB6C-8520838A3B8A}">
      <dsp:nvSpPr>
        <dsp:cNvPr id="0" name=""/>
        <dsp:cNvSpPr/>
      </dsp:nvSpPr>
      <dsp:spPr>
        <a:xfrm>
          <a:off x="3425332" y="3382291"/>
          <a:ext cx="965881"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Which version to deploy?</a:t>
          </a:r>
          <a:endParaRPr lang="en-US" sz="1600" kern="1200" dirty="0"/>
        </a:p>
      </dsp:txBody>
      <dsp:txXfrm>
        <a:off x="3453622" y="3410581"/>
        <a:ext cx="909301" cy="1481274"/>
      </dsp:txXfrm>
    </dsp:sp>
    <dsp:sp modelId="{A44D9863-6FC9-4D7D-ABC0-AC8B57F8DD23}">
      <dsp:nvSpPr>
        <dsp:cNvPr id="0" name=""/>
        <dsp:cNvSpPr/>
      </dsp:nvSpPr>
      <dsp:spPr>
        <a:xfrm>
          <a:off x="4431781" y="3382291"/>
          <a:ext cx="965881"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To what servers?</a:t>
          </a:r>
          <a:endParaRPr lang="en-US" sz="1600" kern="1200" dirty="0"/>
        </a:p>
      </dsp:txBody>
      <dsp:txXfrm>
        <a:off x="4460071" y="3410581"/>
        <a:ext cx="909301" cy="1481274"/>
      </dsp:txXfrm>
    </dsp:sp>
    <dsp:sp modelId="{F3179C61-32C4-47CB-803B-B98A17495F93}">
      <dsp:nvSpPr>
        <dsp:cNvPr id="0" name=""/>
        <dsp:cNvSpPr/>
      </dsp:nvSpPr>
      <dsp:spPr>
        <a:xfrm>
          <a:off x="5438230" y="3382291"/>
          <a:ext cx="1230127" cy="1537854"/>
        </a:xfrm>
        <a:prstGeom prst="roundRect">
          <a:avLst>
            <a:gd name="adj" fmla="val 1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Sequence?</a:t>
          </a:r>
          <a:endParaRPr lang="en-US" sz="1600" kern="1200" dirty="0"/>
        </a:p>
      </dsp:txBody>
      <dsp:txXfrm>
        <a:off x="5474259" y="3418320"/>
        <a:ext cx="1158069" cy="1465796"/>
      </dsp:txXfrm>
    </dsp:sp>
    <dsp:sp modelId="{875B9683-98A8-4417-839C-0C4AD3860969}">
      <dsp:nvSpPr>
        <dsp:cNvPr id="0" name=""/>
        <dsp:cNvSpPr/>
      </dsp:nvSpPr>
      <dsp:spPr>
        <a:xfrm>
          <a:off x="6749492" y="1691640"/>
          <a:ext cx="1972330" cy="1537854"/>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en-US" sz="2900" kern="1200" baseline="0" dirty="0" smtClean="0"/>
            <a:t>New Approach </a:t>
          </a:r>
          <a:r>
            <a:rPr lang="en-US" sz="1600" kern="1200" baseline="0" dirty="0" smtClean="0"/>
            <a:t>(days)</a:t>
          </a:r>
          <a:endParaRPr lang="en-US" sz="1600" kern="1200" dirty="0"/>
        </a:p>
      </dsp:txBody>
      <dsp:txXfrm>
        <a:off x="6794534" y="1736682"/>
        <a:ext cx="1882246" cy="1447770"/>
      </dsp:txXfrm>
    </dsp:sp>
    <dsp:sp modelId="{F03148F7-5057-4A83-9288-798CBDFC3602}">
      <dsp:nvSpPr>
        <dsp:cNvPr id="0" name=""/>
        <dsp:cNvSpPr/>
      </dsp:nvSpPr>
      <dsp:spPr>
        <a:xfrm>
          <a:off x="6749492" y="3382291"/>
          <a:ext cx="965881" cy="1537854"/>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Reuse plan</a:t>
          </a:r>
          <a:endParaRPr lang="en-US" sz="1600" kern="1200" dirty="0"/>
        </a:p>
      </dsp:txBody>
      <dsp:txXfrm>
        <a:off x="6777782" y="3410581"/>
        <a:ext cx="909301" cy="1481274"/>
      </dsp:txXfrm>
    </dsp:sp>
    <dsp:sp modelId="{27A49B19-05C6-4321-A35B-66D33E812264}">
      <dsp:nvSpPr>
        <dsp:cNvPr id="0" name=""/>
        <dsp:cNvSpPr/>
      </dsp:nvSpPr>
      <dsp:spPr>
        <a:xfrm>
          <a:off x="7755941" y="3382291"/>
          <a:ext cx="965881" cy="1537854"/>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baseline="0" dirty="0" smtClean="0"/>
            <a:t>Unified deploy</a:t>
          </a:r>
          <a:endParaRPr lang="en-US" sz="1600" kern="1200" dirty="0"/>
        </a:p>
      </dsp:txBody>
      <dsp:txXfrm>
        <a:off x="7784231" y="3410581"/>
        <a:ext cx="909301" cy="148127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F9F1EB-FB41-47AF-885D-D02C63DC8855}">
      <dsp:nvSpPr>
        <dsp:cNvPr id="0" name=""/>
        <dsp:cNvSpPr/>
      </dsp:nvSpPr>
      <dsp:spPr>
        <a:xfrm>
          <a:off x="587883" y="0"/>
          <a:ext cx="7306056" cy="3291840"/>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0E7656-2021-4288-8ECC-616895A0D98E}">
      <dsp:nvSpPr>
        <dsp:cNvPr id="0" name=""/>
        <dsp:cNvSpPr/>
      </dsp:nvSpPr>
      <dsp:spPr>
        <a:xfrm>
          <a:off x="4751" y="868677"/>
          <a:ext cx="1546728" cy="15544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Dev </a:t>
          </a:r>
          <a:r>
            <a:rPr lang="en-US" sz="1600" kern="1200" smtClean="0"/>
            <a:t>makes configuration </a:t>
          </a:r>
          <a:r>
            <a:rPr lang="en-US" sz="1600" kern="1200" dirty="0" smtClean="0"/>
            <a:t>change manually</a:t>
          </a:r>
          <a:endParaRPr lang="en-US" sz="1600" kern="1200" dirty="0"/>
        </a:p>
      </dsp:txBody>
      <dsp:txXfrm>
        <a:off x="80256" y="944182"/>
        <a:ext cx="1395718" cy="1403475"/>
      </dsp:txXfrm>
    </dsp:sp>
    <dsp:sp modelId="{2A780C73-87B8-460B-AAEF-90A721379133}">
      <dsp:nvSpPr>
        <dsp:cNvPr id="0" name=""/>
        <dsp:cNvSpPr/>
      </dsp:nvSpPr>
      <dsp:spPr>
        <a:xfrm>
          <a:off x="1802876" y="868677"/>
          <a:ext cx="1508384" cy="15544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Dev summarizes work done in form of Jira tasks</a:t>
          </a:r>
          <a:endParaRPr lang="en-US" sz="1600" kern="1200" dirty="0"/>
        </a:p>
      </dsp:txBody>
      <dsp:txXfrm>
        <a:off x="1876509" y="942310"/>
        <a:ext cx="1361118" cy="1407219"/>
      </dsp:txXfrm>
    </dsp:sp>
    <dsp:sp modelId="{7EA87E4B-3234-4330-88A6-92DBDB6B68B3}">
      <dsp:nvSpPr>
        <dsp:cNvPr id="0" name=""/>
        <dsp:cNvSpPr/>
      </dsp:nvSpPr>
      <dsp:spPr>
        <a:xfrm>
          <a:off x="3562659" y="868677"/>
          <a:ext cx="1508384" cy="15544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QE validates changes and task</a:t>
          </a:r>
          <a:endParaRPr lang="en-US" sz="1600" kern="1200" dirty="0"/>
        </a:p>
      </dsp:txBody>
      <dsp:txXfrm>
        <a:off x="3636292" y="942310"/>
        <a:ext cx="1361118" cy="1407219"/>
      </dsp:txXfrm>
    </dsp:sp>
    <dsp:sp modelId="{7536E29D-3911-41E3-8159-FE8107354E9F}">
      <dsp:nvSpPr>
        <dsp:cNvPr id="0" name=""/>
        <dsp:cNvSpPr/>
      </dsp:nvSpPr>
      <dsp:spPr>
        <a:xfrm>
          <a:off x="5322441" y="868677"/>
          <a:ext cx="1508384" cy="15544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Application Deploy (AD) reviews task for validity</a:t>
          </a:r>
          <a:endParaRPr lang="en-US" sz="1600" kern="1200" dirty="0"/>
        </a:p>
      </dsp:txBody>
      <dsp:txXfrm>
        <a:off x="5396074" y="942310"/>
        <a:ext cx="1361118" cy="1407219"/>
      </dsp:txXfrm>
    </dsp:sp>
    <dsp:sp modelId="{B359A921-6F9C-4EC5-B9B7-37361D5B02DC}">
      <dsp:nvSpPr>
        <dsp:cNvPr id="0" name=""/>
        <dsp:cNvSpPr/>
      </dsp:nvSpPr>
      <dsp:spPr>
        <a:xfrm>
          <a:off x="7082223" y="868677"/>
          <a:ext cx="1508384" cy="15544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AD adds to deploy plan based info from tasks</a:t>
          </a:r>
          <a:endParaRPr lang="en-US" sz="1600" kern="1200" dirty="0"/>
        </a:p>
      </dsp:txBody>
      <dsp:txXfrm>
        <a:off x="7155856" y="942310"/>
        <a:ext cx="1361118" cy="14072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EB9EEC-7B54-41BE-B16A-48CB9D91A0BD}">
      <dsp:nvSpPr>
        <dsp:cNvPr id="0" name=""/>
        <dsp:cNvSpPr/>
      </dsp:nvSpPr>
      <dsp:spPr>
        <a:xfrm>
          <a:off x="644651" y="0"/>
          <a:ext cx="7306056" cy="3291840"/>
        </a:xfrm>
        <a:prstGeom prst="lef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424038-3EF6-4450-98BE-84E8000C6B58}">
      <dsp:nvSpPr>
        <dsp:cNvPr id="0" name=""/>
        <dsp:cNvSpPr/>
      </dsp:nvSpPr>
      <dsp:spPr>
        <a:xfrm>
          <a:off x="6683647" y="868677"/>
          <a:ext cx="1908774" cy="155448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Configuration templates delivered within software</a:t>
          </a:r>
          <a:endParaRPr lang="en-US" sz="1800" kern="1200" dirty="0"/>
        </a:p>
      </dsp:txBody>
      <dsp:txXfrm>
        <a:off x="6759531" y="944561"/>
        <a:ext cx="1757006" cy="1402717"/>
      </dsp:txXfrm>
    </dsp:sp>
    <dsp:sp modelId="{9906DC69-2D6D-42B1-8D45-DF3F21CBE4C0}">
      <dsp:nvSpPr>
        <dsp:cNvPr id="0" name=""/>
        <dsp:cNvSpPr/>
      </dsp:nvSpPr>
      <dsp:spPr>
        <a:xfrm>
          <a:off x="4456744" y="868677"/>
          <a:ext cx="1908774" cy="155448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ENG maintains catalogue of name value pairs</a:t>
          </a:r>
          <a:endParaRPr lang="en-US" sz="1800" kern="1200" dirty="0"/>
        </a:p>
      </dsp:txBody>
      <dsp:txXfrm>
        <a:off x="4532628" y="944561"/>
        <a:ext cx="1757006" cy="1402717"/>
      </dsp:txXfrm>
    </dsp:sp>
    <dsp:sp modelId="{7430CA29-8CB5-4BBB-BE2D-6496CBE83D23}">
      <dsp:nvSpPr>
        <dsp:cNvPr id="0" name=""/>
        <dsp:cNvSpPr/>
      </dsp:nvSpPr>
      <dsp:spPr>
        <a:xfrm>
          <a:off x="2229841" y="868677"/>
          <a:ext cx="1908774" cy="155448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rtl="0">
            <a:lnSpc>
              <a:spcPct val="90000"/>
            </a:lnSpc>
            <a:spcBef>
              <a:spcPct val="0"/>
            </a:spcBef>
            <a:spcAft>
              <a:spcPct val="35000"/>
            </a:spcAft>
          </a:pPr>
          <a:r>
            <a:rPr lang="en-US" sz="1700" kern="1200" dirty="0" smtClean="0"/>
            <a:t>Addition to catalogue only possible by running Commander procedures</a:t>
          </a:r>
          <a:endParaRPr lang="en-US" sz="1700" kern="1200" dirty="0"/>
        </a:p>
      </dsp:txBody>
      <dsp:txXfrm>
        <a:off x="2305725" y="944561"/>
        <a:ext cx="1757006" cy="1402717"/>
      </dsp:txXfrm>
    </dsp:sp>
    <dsp:sp modelId="{F041DE1C-000D-4443-B7C2-0DB846142741}">
      <dsp:nvSpPr>
        <dsp:cNvPr id="0" name=""/>
        <dsp:cNvSpPr/>
      </dsp:nvSpPr>
      <dsp:spPr>
        <a:xfrm>
          <a:off x="2937" y="868677"/>
          <a:ext cx="1908774" cy="155448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Execution of procedures automatically add to deploy plan</a:t>
          </a:r>
          <a:endParaRPr lang="en-US" sz="1800" kern="1200" dirty="0"/>
        </a:p>
      </dsp:txBody>
      <dsp:txXfrm>
        <a:off x="78821" y="944561"/>
        <a:ext cx="1757006" cy="140271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5F9815-4693-4C13-A1AA-5A7FF8C8B453}">
      <dsp:nvSpPr>
        <dsp:cNvPr id="0" name=""/>
        <dsp:cNvSpPr/>
      </dsp:nvSpPr>
      <dsp:spPr>
        <a:xfrm>
          <a:off x="0" y="213288"/>
          <a:ext cx="8914015" cy="15876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1827" tIns="249936" rIns="691827" bIns="142240" numCol="1" spcCol="1270" anchor="t" anchorCtr="0">
          <a:noAutofit/>
        </a:bodyPr>
        <a:lstStyle/>
        <a:p>
          <a:pPr marL="228600" lvl="1" indent="-228600" algn="l" defTabSz="889000" rtl="0">
            <a:lnSpc>
              <a:spcPct val="90000"/>
            </a:lnSpc>
            <a:spcBef>
              <a:spcPct val="0"/>
            </a:spcBef>
            <a:spcAft>
              <a:spcPct val="15000"/>
            </a:spcAft>
            <a:buChar char="••"/>
          </a:pPr>
          <a:r>
            <a:rPr lang="en-US" sz="2000" kern="1200" baseline="0" dirty="0" smtClean="0"/>
            <a:t>Think big, plan big, but start small</a:t>
          </a:r>
          <a:endParaRPr lang="en-US" sz="2000" kern="1200" dirty="0"/>
        </a:p>
        <a:p>
          <a:pPr marL="228600" lvl="1" indent="-228600" algn="l" defTabSz="889000" rtl="0">
            <a:lnSpc>
              <a:spcPct val="90000"/>
            </a:lnSpc>
            <a:spcBef>
              <a:spcPct val="0"/>
            </a:spcBef>
            <a:spcAft>
              <a:spcPct val="15000"/>
            </a:spcAft>
            <a:buChar char="••"/>
          </a:pPr>
          <a:r>
            <a:rPr lang="en-US" sz="2000" kern="1200" baseline="0" dirty="0" smtClean="0"/>
            <a:t>Know what your overall goal is but start with a small subset</a:t>
          </a:r>
          <a:endParaRPr lang="en-US" sz="2000" kern="1200" dirty="0"/>
        </a:p>
        <a:p>
          <a:pPr marL="228600" lvl="1" indent="-228600" algn="l" defTabSz="889000" rtl="0">
            <a:lnSpc>
              <a:spcPct val="90000"/>
            </a:lnSpc>
            <a:spcBef>
              <a:spcPct val="0"/>
            </a:spcBef>
            <a:spcAft>
              <a:spcPct val="15000"/>
            </a:spcAft>
            <a:buChar char="••"/>
          </a:pPr>
          <a:r>
            <a:rPr lang="en-US" sz="2000" kern="1200" dirty="0" smtClean="0"/>
            <a:t>Builds a solid foundation; become really good with that small subset and only then expand</a:t>
          </a:r>
          <a:endParaRPr lang="en-US" sz="2000" kern="1200" dirty="0"/>
        </a:p>
      </dsp:txBody>
      <dsp:txXfrm>
        <a:off x="0" y="213288"/>
        <a:ext cx="8914015" cy="1587600"/>
      </dsp:txXfrm>
    </dsp:sp>
    <dsp:sp modelId="{1D67A50A-5CB0-4A89-B14A-DCADAA2F38AE}">
      <dsp:nvSpPr>
        <dsp:cNvPr id="0" name=""/>
        <dsp:cNvSpPr/>
      </dsp:nvSpPr>
      <dsp:spPr>
        <a:xfrm>
          <a:off x="182879" y="36168"/>
          <a:ext cx="6239810" cy="35424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5850" tIns="0" rIns="235850" bIns="0" numCol="1" spcCol="1270" anchor="ctr" anchorCtr="0">
          <a:noAutofit/>
        </a:bodyPr>
        <a:lstStyle/>
        <a:p>
          <a:pPr lvl="0" algn="l" defTabSz="1066800" rtl="0">
            <a:lnSpc>
              <a:spcPct val="90000"/>
            </a:lnSpc>
            <a:spcBef>
              <a:spcPct val="0"/>
            </a:spcBef>
            <a:spcAft>
              <a:spcPct val="35000"/>
            </a:spcAft>
          </a:pPr>
          <a:r>
            <a:rPr lang="en-US" sz="2400" kern="1200" dirty="0" smtClean="0"/>
            <a:t>Think Big</a:t>
          </a:r>
          <a:endParaRPr lang="en-US" sz="2400" kern="1200" dirty="0"/>
        </a:p>
      </dsp:txBody>
      <dsp:txXfrm>
        <a:off x="200172" y="53461"/>
        <a:ext cx="6205224" cy="319654"/>
      </dsp:txXfrm>
    </dsp:sp>
    <dsp:sp modelId="{4539926E-2077-4AEC-AC45-F784563F9801}">
      <dsp:nvSpPr>
        <dsp:cNvPr id="0" name=""/>
        <dsp:cNvSpPr/>
      </dsp:nvSpPr>
      <dsp:spPr>
        <a:xfrm>
          <a:off x="0" y="2042808"/>
          <a:ext cx="8914015" cy="13230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1827" tIns="249936" rIns="691827" bIns="142240" numCol="1" spcCol="1270" anchor="t" anchorCtr="0">
          <a:noAutofit/>
        </a:bodyPr>
        <a:lstStyle/>
        <a:p>
          <a:pPr marL="228600" lvl="1" indent="-228600" algn="l" defTabSz="889000" rtl="0">
            <a:lnSpc>
              <a:spcPct val="90000"/>
            </a:lnSpc>
            <a:spcBef>
              <a:spcPct val="0"/>
            </a:spcBef>
            <a:spcAft>
              <a:spcPct val="15000"/>
            </a:spcAft>
            <a:buChar char="••"/>
          </a:pPr>
          <a:r>
            <a:rPr lang="en-US" sz="2000" kern="1200" baseline="0" dirty="0" smtClean="0"/>
            <a:t>Set standards and be consistent</a:t>
          </a:r>
          <a:endParaRPr lang="en-US" sz="2000" kern="1200" dirty="0"/>
        </a:p>
        <a:p>
          <a:pPr marL="228600" lvl="1" indent="-228600" algn="l" defTabSz="889000" rtl="0">
            <a:lnSpc>
              <a:spcPct val="90000"/>
            </a:lnSpc>
            <a:spcBef>
              <a:spcPct val="0"/>
            </a:spcBef>
            <a:spcAft>
              <a:spcPct val="15000"/>
            </a:spcAft>
            <a:buChar char="••"/>
          </a:pPr>
          <a:r>
            <a:rPr lang="en-US" sz="2000" kern="1200" baseline="0" dirty="0" smtClean="0"/>
            <a:t>Enforce the same standards across all of your environment </a:t>
          </a:r>
          <a:endParaRPr lang="en-US" sz="2000" kern="1200" dirty="0"/>
        </a:p>
        <a:p>
          <a:pPr marL="228600" lvl="1" indent="-228600" algn="l" defTabSz="889000" rtl="0">
            <a:lnSpc>
              <a:spcPct val="90000"/>
            </a:lnSpc>
            <a:spcBef>
              <a:spcPct val="0"/>
            </a:spcBef>
            <a:spcAft>
              <a:spcPct val="15000"/>
            </a:spcAft>
            <a:buChar char="••"/>
          </a:pPr>
          <a:r>
            <a:rPr lang="en-US" sz="2000" kern="1200" baseline="0" dirty="0" smtClean="0"/>
            <a:t>Rebuilt where needed; align environments</a:t>
          </a:r>
          <a:endParaRPr lang="en-US" sz="2000" kern="1200" dirty="0"/>
        </a:p>
      </dsp:txBody>
      <dsp:txXfrm>
        <a:off x="0" y="2042808"/>
        <a:ext cx="8914015" cy="1323000"/>
      </dsp:txXfrm>
    </dsp:sp>
    <dsp:sp modelId="{C09B8B87-A9B3-46B1-99AD-3A421DE35A93}">
      <dsp:nvSpPr>
        <dsp:cNvPr id="0" name=""/>
        <dsp:cNvSpPr/>
      </dsp:nvSpPr>
      <dsp:spPr>
        <a:xfrm>
          <a:off x="182879" y="1865688"/>
          <a:ext cx="6239810" cy="35424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5850" tIns="0" rIns="235850" bIns="0" numCol="1" spcCol="1270" anchor="ctr" anchorCtr="0">
          <a:noAutofit/>
        </a:bodyPr>
        <a:lstStyle/>
        <a:p>
          <a:pPr lvl="0" algn="l" defTabSz="1066800" rtl="0">
            <a:lnSpc>
              <a:spcPct val="90000"/>
            </a:lnSpc>
            <a:spcBef>
              <a:spcPct val="0"/>
            </a:spcBef>
            <a:spcAft>
              <a:spcPct val="35000"/>
            </a:spcAft>
          </a:pPr>
          <a:r>
            <a:rPr lang="en-US" sz="2400" kern="1200" dirty="0" smtClean="0"/>
            <a:t>Standards </a:t>
          </a:r>
          <a:endParaRPr lang="en-US" sz="2400" kern="1200" dirty="0"/>
        </a:p>
      </dsp:txBody>
      <dsp:txXfrm>
        <a:off x="200172" y="1882981"/>
        <a:ext cx="6205224" cy="319654"/>
      </dsp:txXfrm>
    </dsp:sp>
    <dsp:sp modelId="{284CCD3E-3AFF-4073-92D4-0BC248C3E7C5}">
      <dsp:nvSpPr>
        <dsp:cNvPr id="0" name=""/>
        <dsp:cNvSpPr/>
      </dsp:nvSpPr>
      <dsp:spPr>
        <a:xfrm>
          <a:off x="0" y="3607728"/>
          <a:ext cx="8914015" cy="12852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1827" tIns="249936" rIns="691827" bIns="142240" numCol="1" spcCol="1270" anchor="t" anchorCtr="0">
          <a:noAutofit/>
        </a:bodyPr>
        <a:lstStyle/>
        <a:p>
          <a:pPr marL="228600" lvl="1" indent="-228600" algn="l" defTabSz="889000" rtl="0">
            <a:lnSpc>
              <a:spcPct val="90000"/>
            </a:lnSpc>
            <a:spcBef>
              <a:spcPct val="0"/>
            </a:spcBef>
            <a:spcAft>
              <a:spcPct val="15000"/>
            </a:spcAft>
            <a:buChar char="••"/>
          </a:pPr>
          <a:r>
            <a:rPr lang="en-US" sz="2000" kern="1200" baseline="0" dirty="0" smtClean="0"/>
            <a:t>Organizations goals must align with one another</a:t>
          </a:r>
          <a:endParaRPr lang="en-US" sz="2000" kern="1200" dirty="0"/>
        </a:p>
        <a:p>
          <a:pPr marL="228600" lvl="1" indent="-228600" algn="l" defTabSz="889000" rtl="0">
            <a:lnSpc>
              <a:spcPct val="90000"/>
            </a:lnSpc>
            <a:spcBef>
              <a:spcPct val="0"/>
            </a:spcBef>
            <a:spcAft>
              <a:spcPct val="15000"/>
            </a:spcAft>
            <a:buChar char="••"/>
          </a:pPr>
          <a:r>
            <a:rPr lang="en-US" sz="2000" kern="1200" baseline="0" dirty="0" smtClean="0"/>
            <a:t>Every team affected must be aware and be on board with the changes that are to come</a:t>
          </a:r>
          <a:endParaRPr lang="en-US" sz="2000" kern="1200" dirty="0"/>
        </a:p>
      </dsp:txBody>
      <dsp:txXfrm>
        <a:off x="0" y="3607728"/>
        <a:ext cx="8914015" cy="1285200"/>
      </dsp:txXfrm>
    </dsp:sp>
    <dsp:sp modelId="{6ED905E1-D603-40DD-9139-E064EFBF5382}">
      <dsp:nvSpPr>
        <dsp:cNvPr id="0" name=""/>
        <dsp:cNvSpPr/>
      </dsp:nvSpPr>
      <dsp:spPr>
        <a:xfrm>
          <a:off x="182879" y="3430608"/>
          <a:ext cx="6239810" cy="35424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5850" tIns="0" rIns="235850" bIns="0" numCol="1" spcCol="1270" anchor="ctr" anchorCtr="0">
          <a:noAutofit/>
        </a:bodyPr>
        <a:lstStyle/>
        <a:p>
          <a:pPr lvl="0" algn="l" defTabSz="1066800" rtl="0">
            <a:lnSpc>
              <a:spcPct val="90000"/>
            </a:lnSpc>
            <a:spcBef>
              <a:spcPct val="0"/>
            </a:spcBef>
            <a:spcAft>
              <a:spcPct val="35000"/>
            </a:spcAft>
          </a:pPr>
          <a:r>
            <a:rPr lang="en-US" sz="2400" kern="1200" dirty="0" smtClean="0"/>
            <a:t>Stakeholder Agreement</a:t>
          </a:r>
          <a:endParaRPr lang="en-US" sz="2400" kern="1200" dirty="0"/>
        </a:p>
      </dsp:txBody>
      <dsp:txXfrm>
        <a:off x="200172" y="3447901"/>
        <a:ext cx="6205224" cy="319654"/>
      </dsp:txXfrm>
    </dsp:sp>
    <dsp:sp modelId="{00933505-3202-44A6-A249-015CECC1E061}">
      <dsp:nvSpPr>
        <dsp:cNvPr id="0" name=""/>
        <dsp:cNvSpPr/>
      </dsp:nvSpPr>
      <dsp:spPr>
        <a:xfrm>
          <a:off x="0" y="5134849"/>
          <a:ext cx="8914015" cy="1285200"/>
        </a:xfrm>
        <a:prstGeom prst="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1827" tIns="249936" rIns="691827" bIns="142240" numCol="1" spcCol="1270" anchor="t" anchorCtr="0">
          <a:noAutofit/>
        </a:bodyPr>
        <a:lstStyle/>
        <a:p>
          <a:pPr marL="228600" lvl="1" indent="-228600" algn="l" defTabSz="889000" rtl="0">
            <a:lnSpc>
              <a:spcPct val="90000"/>
            </a:lnSpc>
            <a:spcBef>
              <a:spcPct val="0"/>
            </a:spcBef>
            <a:spcAft>
              <a:spcPct val="15000"/>
            </a:spcAft>
            <a:buChar char="••"/>
          </a:pPr>
          <a:r>
            <a:rPr lang="en-US" sz="2000" kern="1200" baseline="0" dirty="0" smtClean="0"/>
            <a:t>You won’t get it 100% correct the first time</a:t>
          </a:r>
          <a:endParaRPr lang="en-US" sz="2000" kern="1200" dirty="0"/>
        </a:p>
        <a:p>
          <a:pPr marL="228600" lvl="1" indent="-228600" algn="l" defTabSz="889000" rtl="0">
            <a:lnSpc>
              <a:spcPct val="90000"/>
            </a:lnSpc>
            <a:spcBef>
              <a:spcPct val="0"/>
            </a:spcBef>
            <a:spcAft>
              <a:spcPct val="15000"/>
            </a:spcAft>
            <a:buChar char="••"/>
          </a:pPr>
          <a:r>
            <a:rPr lang="en-US" sz="2000" kern="1200" baseline="0" dirty="0" smtClean="0"/>
            <a:t>Don’t be afraid to change the direction, just make sure you’re prepared</a:t>
          </a:r>
          <a:endParaRPr lang="en-US" sz="2000" kern="1200" dirty="0"/>
        </a:p>
      </dsp:txBody>
      <dsp:txXfrm>
        <a:off x="0" y="5134849"/>
        <a:ext cx="8914015" cy="1285200"/>
      </dsp:txXfrm>
    </dsp:sp>
    <dsp:sp modelId="{2B9693E8-32B1-4ED2-8DF1-EBD866288984}">
      <dsp:nvSpPr>
        <dsp:cNvPr id="0" name=""/>
        <dsp:cNvSpPr/>
      </dsp:nvSpPr>
      <dsp:spPr>
        <a:xfrm>
          <a:off x="182879" y="4957729"/>
          <a:ext cx="6239810" cy="35424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5850" tIns="0" rIns="235850" bIns="0" numCol="1" spcCol="1270" anchor="ctr" anchorCtr="0">
          <a:noAutofit/>
        </a:bodyPr>
        <a:lstStyle/>
        <a:p>
          <a:pPr lvl="0" algn="l" defTabSz="1066800" rtl="0">
            <a:lnSpc>
              <a:spcPct val="90000"/>
            </a:lnSpc>
            <a:spcBef>
              <a:spcPct val="0"/>
            </a:spcBef>
            <a:spcAft>
              <a:spcPct val="35000"/>
            </a:spcAft>
          </a:pPr>
          <a:r>
            <a:rPr lang="en-US" sz="2400" kern="1200" dirty="0" smtClean="0"/>
            <a:t>Analyze and Reevaluate</a:t>
          </a:r>
          <a:endParaRPr lang="en-US" sz="2400" kern="1200" dirty="0"/>
        </a:p>
      </dsp:txBody>
      <dsp:txXfrm>
        <a:off x="200172" y="4975022"/>
        <a:ext cx="6205224"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65" name="Rectangle 5"/>
          <p:cNvSpPr>
            <a:spLocks noGrp="1" noChangeArrowheads="1"/>
          </p:cNvSpPr>
          <p:nvPr>
            <p:ph type="sldNum" sz="quarter" idx="3"/>
          </p:nvPr>
        </p:nvSpPr>
        <p:spPr bwMode="auto">
          <a:xfrm>
            <a:off x="6510918" y="9048205"/>
            <a:ext cx="491516" cy="248194"/>
          </a:xfrm>
          <a:prstGeom prst="rect">
            <a:avLst/>
          </a:prstGeom>
          <a:noFill/>
          <a:ln w="9525">
            <a:noFill/>
            <a:miter lim="800000"/>
            <a:headEnd/>
            <a:tailEnd/>
          </a:ln>
          <a:effectLst/>
        </p:spPr>
        <p:txBody>
          <a:bodyPr vert="horz" wrap="square" lIns="90925" tIns="45464" rIns="90925" bIns="45464" numCol="1" anchor="b" anchorCtr="0" compatLnSpc="1">
            <a:prstTxWarp prst="textNoShape">
              <a:avLst/>
            </a:prstTxWarp>
          </a:bodyPr>
          <a:lstStyle>
            <a:lvl1pPr algn="r" defTabSz="909185" eaLnBrk="0" hangingPunct="0">
              <a:lnSpc>
                <a:spcPct val="100000"/>
              </a:lnSpc>
              <a:spcBef>
                <a:spcPct val="0"/>
              </a:spcBef>
              <a:defRPr sz="1200" b="0">
                <a:latin typeface="Times New Roman" pitchFamily="18" charset="0"/>
              </a:defRPr>
            </a:lvl1pPr>
          </a:lstStyle>
          <a:p>
            <a:pPr>
              <a:defRPr/>
            </a:pPr>
            <a:fld id="{AC8DF440-AC1E-4EB3-BCAA-2AAB8924A793}" type="slidenum">
              <a:rPr lang="en-US" sz="1000">
                <a:latin typeface="Museo Sans For Dell" pitchFamily="2" charset="0"/>
              </a:rPr>
              <a:pPr>
                <a:defRPr/>
              </a:pPr>
              <a:t>‹#›</a:t>
            </a:fld>
            <a:endParaRPr lang="en-US" sz="1000" dirty="0">
              <a:latin typeface="Museo Sans For Dell" pitchFamily="2" charset="0"/>
            </a:endParaRPr>
          </a:p>
        </p:txBody>
      </p:sp>
      <p:sp>
        <p:nvSpPr>
          <p:cNvPr id="2" name="fl" descr="                        Dell - Internal Use - Confidential"/>
          <p:cNvSpPr txBox="1"/>
          <p:nvPr/>
        </p:nvSpPr>
        <p:spPr>
          <a:xfrm>
            <a:off x="0" y="9103360"/>
            <a:ext cx="7010400" cy="223138"/>
          </a:xfrm>
          <a:prstGeom prst="rect">
            <a:avLst/>
          </a:prstGeom>
          <a:noFill/>
        </p:spPr>
        <p:txBody>
          <a:bodyPr vert="horz" rtlCol="0">
            <a:spAutoFit/>
          </a:bodyPr>
          <a:lstStyle/>
          <a:p>
            <a:r>
              <a:rPr lang="en-US" sz="850" b="1" smtClean="0">
                <a:solidFill>
                  <a:srgbClr val="7F7F7F"/>
                </a:solidFill>
                <a:latin typeface="museo sans for dell"/>
              </a:rPr>
              <a:t>                        Dell - Internal Use - Confidential</a:t>
            </a:r>
            <a:endParaRPr lang="en-US" sz="850" b="1">
              <a:solidFill>
                <a:srgbClr val="7F7F7F"/>
              </a:solidFill>
              <a:latin typeface="museo sans for dell"/>
            </a:endParaRP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919163" y="384175"/>
            <a:ext cx="5241925" cy="3932238"/>
          </a:xfrm>
          <a:prstGeom prst="rect">
            <a:avLst/>
          </a:prstGeom>
          <a:noFill/>
          <a:ln w="9525">
            <a:solidFill>
              <a:srgbClr val="000000"/>
            </a:solidFill>
            <a:miter lim="800000"/>
            <a:headEnd/>
            <a:tailEnd/>
          </a:ln>
        </p:spPr>
      </p:sp>
      <p:sp>
        <p:nvSpPr>
          <p:cNvPr id="71685" name="Rectangle 5"/>
          <p:cNvSpPr>
            <a:spLocks noGrp="1" noChangeArrowheads="1"/>
          </p:cNvSpPr>
          <p:nvPr>
            <p:ph type="body" sz="quarter" idx="3"/>
          </p:nvPr>
        </p:nvSpPr>
        <p:spPr bwMode="auto">
          <a:xfrm>
            <a:off x="695084" y="4514514"/>
            <a:ext cx="5677504" cy="4263791"/>
          </a:xfrm>
          <a:prstGeom prst="rect">
            <a:avLst/>
          </a:prstGeom>
          <a:noFill/>
          <a:ln w="9525">
            <a:noFill/>
            <a:miter lim="800000"/>
            <a:headEnd/>
            <a:tailEnd/>
          </a:ln>
          <a:effectLst/>
        </p:spPr>
        <p:txBody>
          <a:bodyPr vert="horz" wrap="square" lIns="90925" tIns="45464" rIns="90925" bIns="45464"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71687" name="Rectangle 7"/>
          <p:cNvSpPr>
            <a:spLocks noGrp="1" noChangeArrowheads="1"/>
          </p:cNvSpPr>
          <p:nvPr>
            <p:ph type="sldNum" sz="quarter" idx="5"/>
          </p:nvPr>
        </p:nvSpPr>
        <p:spPr bwMode="auto">
          <a:xfrm>
            <a:off x="6332759" y="9086840"/>
            <a:ext cx="669675" cy="213454"/>
          </a:xfrm>
          <a:prstGeom prst="rect">
            <a:avLst/>
          </a:prstGeom>
          <a:noFill/>
          <a:ln w="9525">
            <a:noFill/>
            <a:miter lim="800000"/>
            <a:headEnd/>
            <a:tailEnd/>
          </a:ln>
          <a:effectLst/>
        </p:spPr>
        <p:txBody>
          <a:bodyPr vert="horz" wrap="square" lIns="90925" tIns="45464" rIns="90925" bIns="45464" numCol="1" anchor="b" anchorCtr="0" compatLnSpc="1">
            <a:prstTxWarp prst="textNoShape">
              <a:avLst/>
            </a:prstTxWarp>
          </a:bodyPr>
          <a:lstStyle>
            <a:lvl1pPr algn="r" defTabSz="909185" eaLnBrk="0" hangingPunct="0">
              <a:lnSpc>
                <a:spcPct val="100000"/>
              </a:lnSpc>
              <a:spcBef>
                <a:spcPct val="0"/>
              </a:spcBef>
              <a:defRPr sz="1000" b="0">
                <a:latin typeface="Museo Sans For Dell" pitchFamily="2" charset="0"/>
              </a:defRPr>
            </a:lvl1pPr>
          </a:lstStyle>
          <a:p>
            <a:pPr>
              <a:defRPr/>
            </a:pPr>
            <a:fld id="{FA04BB6B-BEDE-48E4-970F-8DFC0D4B5AE7}" type="slidenum">
              <a:rPr lang="en-US" smtClean="0"/>
              <a:pPr>
                <a:defRPr/>
              </a:pPr>
              <a:t>‹#›</a:t>
            </a:fld>
            <a:endParaRPr lang="en-US" dirty="0"/>
          </a:p>
        </p:txBody>
      </p:sp>
      <p:sp>
        <p:nvSpPr>
          <p:cNvPr id="2" name="fl" descr="                        Dell - Internal Use - Confidential"/>
          <p:cNvSpPr txBox="1"/>
          <p:nvPr/>
        </p:nvSpPr>
        <p:spPr>
          <a:xfrm>
            <a:off x="0" y="9103360"/>
            <a:ext cx="7010400" cy="223138"/>
          </a:xfrm>
          <a:prstGeom prst="rect">
            <a:avLst/>
          </a:prstGeom>
          <a:noFill/>
        </p:spPr>
        <p:txBody>
          <a:bodyPr vert="horz" rtlCol="0">
            <a:spAutoFit/>
          </a:bodyPr>
          <a:lstStyle/>
          <a:p>
            <a:pPr algn="l"/>
            <a:r>
              <a:rPr lang="en-US" sz="850" b="1" i="0" u="none" baseline="0" smtClean="0">
                <a:solidFill>
                  <a:srgbClr val="7F7F7F"/>
                </a:solidFill>
                <a:latin typeface="museo sans for dell"/>
              </a:rPr>
              <a:t>                        Dell - Internal Use - Confidential</a:t>
            </a:r>
            <a:endParaRPr lang="en-US" sz="850" b="1" i="0" u="none" baseline="0">
              <a:solidFill>
                <a:srgbClr val="7F7F7F"/>
              </a:solidFill>
              <a:latin typeface="museo sans for dell"/>
            </a:endParaRP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useo Sans For Dell" pitchFamily="2" charset="0"/>
        <a:ea typeface="+mn-ea"/>
        <a:cs typeface="+mn-cs"/>
      </a:defRPr>
    </a:lvl1pPr>
    <a:lvl2pPr marL="457200" algn="l" rtl="0" eaLnBrk="0" fontAlgn="base" hangingPunct="0">
      <a:spcBef>
        <a:spcPct val="30000"/>
      </a:spcBef>
      <a:spcAft>
        <a:spcPct val="0"/>
      </a:spcAft>
      <a:defRPr sz="1200" kern="1200">
        <a:solidFill>
          <a:schemeClr val="tx1"/>
        </a:solidFill>
        <a:latin typeface="Museo Sans For Dell" pitchFamily="2" charset="0"/>
        <a:ea typeface="+mn-ea"/>
        <a:cs typeface="+mn-cs"/>
      </a:defRPr>
    </a:lvl2pPr>
    <a:lvl3pPr marL="914400" algn="l" rtl="0" eaLnBrk="0" fontAlgn="base" hangingPunct="0">
      <a:spcBef>
        <a:spcPct val="30000"/>
      </a:spcBef>
      <a:spcAft>
        <a:spcPct val="0"/>
      </a:spcAft>
      <a:defRPr sz="1200" kern="1200">
        <a:solidFill>
          <a:schemeClr val="tx1"/>
        </a:solidFill>
        <a:latin typeface="Museo Sans For Dell" pitchFamily="2" charset="0"/>
        <a:ea typeface="+mn-ea"/>
        <a:cs typeface="+mn-cs"/>
      </a:defRPr>
    </a:lvl3pPr>
    <a:lvl4pPr marL="1371600" algn="l" rtl="0" eaLnBrk="0" fontAlgn="base" hangingPunct="0">
      <a:spcBef>
        <a:spcPct val="30000"/>
      </a:spcBef>
      <a:spcAft>
        <a:spcPct val="0"/>
      </a:spcAft>
      <a:defRPr sz="1200" kern="1200">
        <a:solidFill>
          <a:schemeClr val="tx1"/>
        </a:solidFill>
        <a:latin typeface="Museo Sans For Dell" pitchFamily="2" charset="0"/>
        <a:ea typeface="+mn-ea"/>
        <a:cs typeface="+mn-cs"/>
      </a:defRPr>
    </a:lvl4pPr>
    <a:lvl5pPr marL="1828800" algn="l" rtl="0" eaLnBrk="0" fontAlgn="base" hangingPunct="0">
      <a:spcBef>
        <a:spcPct val="30000"/>
      </a:spcBef>
      <a:spcAft>
        <a:spcPct val="0"/>
      </a:spcAft>
      <a:defRPr sz="1200" kern="1200">
        <a:solidFill>
          <a:schemeClr val="tx1"/>
        </a:solidFill>
        <a:latin typeface="Museo Sans For Dell"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llo</a:t>
            </a:r>
            <a:r>
              <a:rPr lang="en-US" baseline="0" dirty="0" smtClean="0"/>
              <a:t> and welcome. Thank you for attending my presentation on Dell SecureWorks and our story on what we’ve done to get to market faster. My name is Leandro </a:t>
            </a:r>
            <a:r>
              <a:rPr lang="en-US" baseline="0" dirty="0" err="1" smtClean="0"/>
              <a:t>Bonvehi</a:t>
            </a:r>
            <a:r>
              <a:rPr lang="en-US" baseline="0" dirty="0" smtClean="0"/>
              <a:t>. I’m a senior engineering at Dell SecureWorks and have been with the company for the last 8 years. </a:t>
            </a:r>
          </a:p>
          <a:p>
            <a:endParaRPr lang="en-US" baseline="0" dirty="0" smtClean="0"/>
          </a:p>
          <a:p>
            <a:r>
              <a:rPr lang="en-US" baseline="0" dirty="0" smtClean="0"/>
              <a:t>At SecureWorks I’m leading the </a:t>
            </a:r>
            <a:r>
              <a:rPr lang="en-US" baseline="0" dirty="0" err="1" smtClean="0"/>
              <a:t>DevOps</a:t>
            </a:r>
            <a:r>
              <a:rPr lang="en-US" baseline="0" dirty="0" smtClean="0"/>
              <a:t> implementation to transform how the engineering organization delivers and deploys software. Today I take you through our journey. I’ll go over our business objective, we’ll look at the internal engineering challenges, and the steps that we’ve taken in order to increase our efficiencies. We’ll have a quick look at our solution and have a little Q&amp;A at the end.</a:t>
            </a:r>
          </a:p>
          <a:p>
            <a:endParaRPr lang="en-US"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a:t>
            </a:fld>
            <a:endParaRPr lang="en-US" dirty="0"/>
          </a:p>
        </p:txBody>
      </p:sp>
    </p:spTree>
    <p:extLst>
      <p:ext uri="{BB962C8B-B14F-4D97-AF65-F5344CB8AC3E}">
        <p14:creationId xmlns:p14="http://schemas.microsoft.com/office/powerpoint/2010/main" val="33715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smtClean="0"/>
              <a:t>First</a:t>
            </a:r>
            <a:r>
              <a:rPr lang="en-US" baseline="0" dirty="0" smtClean="0"/>
              <a:t> and foremost management acknowledge a gap in our organization. We had already  been through team restructuring, head count increase, shift in responsibilities and great emphasis on test automation. All of these steps made significant improvements but something new was needed to directly deal with improving our efficiencie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lvl="0"/>
            <a:r>
              <a:rPr lang="en-US" dirty="0" smtClean="0"/>
              <a:t>Management</a:t>
            </a:r>
            <a:r>
              <a:rPr lang="en-US" baseline="0" dirty="0" smtClean="0"/>
              <a:t> decided to form a new team, to server as layer between engineering and operations. The team’s responsibility to focus on release automation. Rather than hiring from the outside the decision was made to tap existing staff members who already a had an understanding of the company.</a:t>
            </a:r>
            <a:endParaRPr lang="en-US"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0</a:t>
            </a:fld>
            <a:endParaRPr lang="en-US" dirty="0"/>
          </a:p>
        </p:txBody>
      </p:sp>
    </p:spTree>
    <p:extLst>
      <p:ext uri="{BB962C8B-B14F-4D97-AF65-F5344CB8AC3E}">
        <p14:creationId xmlns:p14="http://schemas.microsoft.com/office/powerpoint/2010/main" val="3708867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e first thing</a:t>
            </a:r>
            <a:r>
              <a:rPr lang="en-US" baseline="0" dirty="0" smtClean="0"/>
              <a:t> the team </a:t>
            </a:r>
            <a:r>
              <a:rPr lang="en-US" dirty="0" smtClean="0"/>
              <a:t>did was look</a:t>
            </a:r>
            <a:r>
              <a:rPr lang="en-US" baseline="0" dirty="0" smtClean="0"/>
              <a:t> for ways in which they could give time back to Engineering. What could we do to allow engineers to spend more time developing and testing. We found that 2.5 hours per day were spent updating our test environment. During that time the environment was usable but unstable. The update responsibilities fell on different groups within Engineering so the timing of the updates weren’t ideal for everyone.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What we did was provide a home grown automated solution to sync up daily software updates and reduced that time to 7 minutes. 7 minutes though of complete instability. This worked great for engineering wasn’t something that could be used in production because we cannot take any down time there. The solution did  not take application configuration or up time into consideration. It simply updated software as quickly as possibl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e next 2</a:t>
            </a:r>
            <a:r>
              <a:rPr lang="en-US" baseline="0" dirty="0" smtClean="0"/>
              <a:t> items go hand in hand. Over the years we had been through significant changes in terms of technology and topology but out environment had not always kept up pace. We went through a cleans and rebuild period to align the lab with the production environment. We removed anything that wasn’t need and rebuilt anything needed to match production standards. The decommissioning of virtual machines alones gave us an annual saving of $42K dollars.</a:t>
            </a: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s</a:t>
            </a:r>
            <a:r>
              <a:rPr lang="en-US" baseline="0" dirty="0" smtClean="0"/>
              <a:t> expected this resulted in greater test platform availability as environmental issues for non software related reasons are very low. </a:t>
            </a:r>
            <a:r>
              <a:rPr lang="en-US" baseline="0" dirty="0" smtClean="0"/>
              <a:t>Our test results were more accurate because the were executed against an environment that more closely resembled production. It also made it easier for engineers to troubleshot issue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e alignment of the environments if what allowed us to move on to phase 2.</a:t>
            </a:r>
            <a:endParaRPr lang="en-US"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1</a:t>
            </a:fld>
            <a:endParaRPr lang="en-US" dirty="0"/>
          </a:p>
        </p:txBody>
      </p:sp>
    </p:spTree>
    <p:extLst>
      <p:ext uri="{BB962C8B-B14F-4D97-AF65-F5344CB8AC3E}">
        <p14:creationId xmlns:p14="http://schemas.microsoft.com/office/powerpoint/2010/main" val="937591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DevOps</a:t>
            </a:r>
            <a:r>
              <a:rPr lang="en-US" baseline="0" dirty="0" smtClean="0"/>
              <a:t> </a:t>
            </a:r>
            <a:r>
              <a:rPr lang="en-US" dirty="0" smtClean="0"/>
              <a:t>next</a:t>
            </a:r>
            <a:r>
              <a:rPr lang="en-US" baseline="0" dirty="0" smtClean="0"/>
              <a:t> major goal was application </a:t>
            </a:r>
            <a:r>
              <a:rPr lang="en-US" baseline="0" dirty="0" smtClean="0"/>
              <a:t>release </a:t>
            </a:r>
            <a:r>
              <a:rPr lang="en-US" baseline="0" dirty="0" smtClean="0"/>
              <a:t>automation to support our value based monthly release.</a:t>
            </a:r>
          </a:p>
          <a:p>
            <a:endParaRPr lang="en-US" baseline="0" dirty="0" smtClean="0"/>
          </a:p>
          <a:p>
            <a:r>
              <a:rPr lang="en-US" baseline="0" dirty="0" smtClean="0"/>
              <a:t>In order to move at such a rapid pace compared to before it was imperative to have a unified deployment and configuration solution along with improving knowledge transfer efficiency. </a:t>
            </a:r>
          </a:p>
          <a:p>
            <a:endParaRPr lang="en-US" baseline="0" dirty="0" smtClean="0"/>
          </a:p>
          <a:p>
            <a:r>
              <a:rPr lang="en-US" baseline="0" dirty="0" smtClean="0"/>
              <a:t>The </a:t>
            </a:r>
            <a:r>
              <a:rPr lang="en-US" baseline="0" dirty="0" smtClean="0"/>
              <a:t>deployment and configuration solution needs to be a repeatable across all of our environment. It needs to support orchestration that takes server states into consideration</a:t>
            </a:r>
            <a:r>
              <a:rPr lang="en-US" baseline="0" dirty="0" smtClean="0"/>
              <a:t>. </a:t>
            </a:r>
            <a:r>
              <a:rPr lang="en-US" baseline="0" dirty="0" smtClean="0"/>
              <a:t>It also needs to be executable by authorized personnel only. Operations needs to be able to use it against production systems whereas engineering needs to be limited to test environments.</a:t>
            </a:r>
          </a:p>
          <a:p>
            <a:endParaRPr lang="en-US" baseline="0" dirty="0" smtClean="0"/>
          </a:p>
          <a:p>
            <a:r>
              <a:rPr lang="en-US" baseline="0" dirty="0" smtClean="0"/>
              <a:t>On </a:t>
            </a:r>
            <a:r>
              <a:rPr lang="en-US" baseline="0" dirty="0" smtClean="0"/>
              <a:t>the knowledge transfer efficiency front our goal </a:t>
            </a:r>
            <a:r>
              <a:rPr lang="en-US" baseline="0" dirty="0" smtClean="0"/>
              <a:t>was </a:t>
            </a:r>
            <a:r>
              <a:rPr lang="en-US" baseline="0" dirty="0" smtClean="0"/>
              <a:t>to replace documentation </a:t>
            </a:r>
            <a:r>
              <a:rPr lang="en-US" baseline="0" dirty="0" smtClean="0"/>
              <a:t>with </a:t>
            </a:r>
            <a:r>
              <a:rPr lang="en-US" baseline="0" dirty="0" smtClean="0"/>
              <a:t>actionable automated </a:t>
            </a:r>
            <a:r>
              <a:rPr lang="en-US" baseline="0" dirty="0" smtClean="0"/>
              <a:t>process. This would smooth the handoff process and reduce the prep </a:t>
            </a:r>
            <a:r>
              <a:rPr lang="en-US" baseline="0" dirty="0" smtClean="0"/>
              <a:t>work ahead of a deployment. It </a:t>
            </a:r>
            <a:r>
              <a:rPr lang="en-US" baseline="0" dirty="0" smtClean="0"/>
              <a:t>would remove the </a:t>
            </a:r>
            <a:r>
              <a:rPr lang="en-US" baseline="0" dirty="0" smtClean="0"/>
              <a:t>double effort from Engineering and Operations to create and maintain deployment plans that </a:t>
            </a:r>
            <a:r>
              <a:rPr lang="en-US" baseline="0" dirty="0" smtClean="0"/>
              <a:t>made </a:t>
            </a:r>
            <a:r>
              <a:rPr lang="en-US" baseline="0" dirty="0" smtClean="0"/>
              <a:t>sense to them.</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2</a:t>
            </a:fld>
            <a:endParaRPr lang="en-US" dirty="0"/>
          </a:p>
        </p:txBody>
      </p:sp>
    </p:spTree>
    <p:extLst>
      <p:ext uri="{BB962C8B-B14F-4D97-AF65-F5344CB8AC3E}">
        <p14:creationId xmlns:p14="http://schemas.microsoft.com/office/powerpoint/2010/main" val="11590092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that I’ve layout a picture of our challenges and actions</a:t>
            </a:r>
            <a:r>
              <a:rPr lang="en-US" baseline="0" dirty="0" smtClean="0"/>
              <a:t> taken to address the issues lets take a more in depth look at our solutions</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3</a:t>
            </a:fld>
            <a:endParaRPr lang="en-US" dirty="0"/>
          </a:p>
        </p:txBody>
      </p:sp>
    </p:spTree>
    <p:extLst>
      <p:ext uri="{BB962C8B-B14F-4D97-AF65-F5344CB8AC3E}">
        <p14:creationId xmlns:p14="http://schemas.microsoft.com/office/powerpoint/2010/main" val="3092879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http://devops.com/features/approaches-to-application-release-automation/</a:t>
            </a:r>
          </a:p>
          <a:p>
            <a:endParaRPr lang="en-US" dirty="0" smtClean="0"/>
          </a:p>
          <a:p>
            <a:r>
              <a:rPr lang="en-US" dirty="0" smtClean="0"/>
              <a:t>Before</a:t>
            </a:r>
            <a:r>
              <a:rPr lang="en-US" baseline="0" dirty="0" smtClean="0"/>
              <a:t> deciding on a tool we sat down and defined the things that were important to us. We needed a tool that could make conditional decisions and allowed partial or fully automated deployments. We wanted the tool to perform validation and pre-deployment dry runs. Along with that we wanted notifications </a:t>
            </a:r>
            <a:r>
              <a:rPr lang="en-US" baseline="0" dirty="0" smtClean="0"/>
              <a:t>and </a:t>
            </a:r>
            <a:r>
              <a:rPr lang="en-US" baseline="0" dirty="0" smtClean="0"/>
              <a:t>audit trails. </a:t>
            </a:r>
          </a:p>
          <a:p>
            <a:endParaRPr lang="en-US" baseline="0" dirty="0" smtClean="0"/>
          </a:p>
          <a:p>
            <a:r>
              <a:rPr lang="en-US" baseline="0" dirty="0" smtClean="0"/>
              <a:t>There are many great </a:t>
            </a:r>
            <a:r>
              <a:rPr lang="en-US" baseline="0" dirty="0" err="1" smtClean="0"/>
              <a:t>DevOps</a:t>
            </a:r>
            <a:r>
              <a:rPr lang="en-US" baseline="0" dirty="0" smtClean="0"/>
              <a:t> tools out there which take different approaches to solve similar problems. They all have their strengths and weaknesses and we needed </a:t>
            </a:r>
            <a:r>
              <a:rPr lang="en-US" baseline="0" dirty="0" smtClean="0"/>
              <a:t>to pick an approach that worked for us. </a:t>
            </a:r>
            <a:r>
              <a:rPr lang="en-US" baseline="0" dirty="0" smtClean="0"/>
              <a:t>A couple of example of these approaches are declarative, imperative, and process based. </a:t>
            </a:r>
          </a:p>
          <a:p>
            <a:endParaRPr lang="en-US" baseline="0" dirty="0" smtClean="0"/>
          </a:p>
          <a:p>
            <a:r>
              <a:rPr lang="en-US" baseline="0" dirty="0" smtClean="0"/>
              <a:t>In the declarative based approach the desired state of the server is defined down to every individual configuration items and assumes that servers can be configured independently. I compare this to making </a:t>
            </a:r>
            <a:r>
              <a:rPr lang="en-US" baseline="0" dirty="0" smtClean="0"/>
              <a:t>lemonade. </a:t>
            </a:r>
            <a:r>
              <a:rPr lang="en-US" baseline="0" dirty="0" smtClean="0"/>
              <a:t>The order in which the ingredients are mixed doesn’t matter. In the end </a:t>
            </a:r>
            <a:r>
              <a:rPr lang="en-US" baseline="0" dirty="0" smtClean="0"/>
              <a:t>lemonade </a:t>
            </a:r>
            <a:r>
              <a:rPr lang="en-US" baseline="0" dirty="0" smtClean="0"/>
              <a:t>will be </a:t>
            </a:r>
            <a:r>
              <a:rPr lang="en-US" baseline="0" dirty="0" smtClean="0"/>
              <a:t>lemonade.</a:t>
            </a:r>
            <a:endParaRPr lang="en-US" baseline="0" dirty="0" smtClean="0"/>
          </a:p>
          <a:p>
            <a:endParaRPr lang="en-US" sz="1200" baseline="0" dirty="0" smtClean="0"/>
          </a:p>
          <a:p>
            <a:r>
              <a:rPr lang="en-US" sz="1200" baseline="0" dirty="0" smtClean="0"/>
              <a:t>In the imperative model  a programing language is used to describe what needs to be done on target sever in a series of </a:t>
            </a:r>
            <a:r>
              <a:rPr lang="en-US" sz="1200" baseline="0" dirty="0" smtClean="0"/>
              <a:t>steps. </a:t>
            </a:r>
            <a:r>
              <a:rPr lang="en-US" sz="1200" baseline="0" dirty="0" smtClean="0"/>
              <a:t>I compare this cooking a single dish. A particular recipe must be followed in a specific order to get the desired outcome. </a:t>
            </a:r>
          </a:p>
          <a:p>
            <a:endParaRPr lang="en-US" sz="1200" baseline="0" dirty="0" smtClean="0"/>
          </a:p>
          <a:p>
            <a:r>
              <a:rPr lang="en-US" sz="1200" baseline="0" dirty="0" smtClean="0"/>
              <a:t>In a process </a:t>
            </a:r>
            <a:r>
              <a:rPr lang="en-US" sz="1200" baseline="0" dirty="0" smtClean="0"/>
              <a:t>based approach </a:t>
            </a:r>
            <a:r>
              <a:rPr lang="en-US" sz="1200" baseline="0" dirty="0" smtClean="0"/>
              <a:t>the user </a:t>
            </a:r>
            <a:r>
              <a:rPr lang="en-US" sz="1200" baseline="0" dirty="0" smtClean="0"/>
              <a:t>defines, visually, the deployment process. The tool acts as an orchestrator and synchronizer of changes. It is able to make decisions based on conditions. I compare this to preparing a </a:t>
            </a:r>
            <a:r>
              <a:rPr lang="en-US" sz="1200" baseline="0" dirty="0" smtClean="0"/>
              <a:t>four </a:t>
            </a:r>
            <a:r>
              <a:rPr lang="en-US" sz="1200" baseline="0" dirty="0" smtClean="0"/>
              <a:t>course meal. The cooking of the different dishes must be coordinated so that items come out of the kitchen at the right time.</a:t>
            </a:r>
          </a:p>
          <a:p>
            <a:endParaRPr lang="en-US" sz="1200" baseline="0" dirty="0" smtClean="0"/>
          </a:p>
          <a:p>
            <a:r>
              <a:rPr lang="en-US" sz="1200" b="0" baseline="0" dirty="0" smtClean="0"/>
              <a:t>Based on our requirements we knew that we need process based tool and decided on </a:t>
            </a:r>
            <a:r>
              <a:rPr lang="en-US" sz="1200" b="0" baseline="0" dirty="0" err="1" smtClean="0"/>
              <a:t>ElectricCommander</a:t>
            </a:r>
            <a:r>
              <a:rPr lang="en-US" sz="1200" b="0" baseline="0" dirty="0" smtClean="0"/>
              <a:t> by </a:t>
            </a:r>
            <a:r>
              <a:rPr lang="en-US" sz="1200" b="0" baseline="0" dirty="0" err="1" smtClean="0"/>
              <a:t>ElectricCloud</a:t>
            </a:r>
            <a:r>
              <a:rPr lang="en-US" sz="1200" b="0" baseline="0" dirty="0" smtClean="0"/>
              <a:t>. </a:t>
            </a:r>
            <a:r>
              <a:rPr lang="en-US" sz="1200" b="0" baseline="0" dirty="0" err="1" smtClean="0"/>
              <a:t>ElectricCloud</a:t>
            </a:r>
            <a:r>
              <a:rPr lang="en-US" sz="1200" b="0" baseline="0" dirty="0" smtClean="0"/>
              <a:t> is a sponsor of the conference but for those not familiar with Commander it is </a:t>
            </a:r>
            <a:r>
              <a:rPr lang="en-US" b="0" dirty="0" smtClean="0"/>
              <a:t>Continuous </a:t>
            </a:r>
            <a:r>
              <a:rPr lang="en-US" b="0" dirty="0" smtClean="0"/>
              <a:t>Delivery solution</a:t>
            </a:r>
            <a:r>
              <a:rPr lang="en-US" b="0" baseline="0" dirty="0" smtClean="0"/>
              <a:t> to</a:t>
            </a:r>
            <a:r>
              <a:rPr lang="en-US" dirty="0" smtClean="0"/>
              <a:t> automate and accelerate end-to-end software builds, tests, and deployment processes.</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4</a:t>
            </a:fld>
            <a:endParaRPr lang="en-US" dirty="0"/>
          </a:p>
        </p:txBody>
      </p:sp>
    </p:spTree>
    <p:extLst>
      <p:ext uri="{BB962C8B-B14F-4D97-AF65-F5344CB8AC3E}">
        <p14:creationId xmlns:p14="http://schemas.microsoft.com/office/powerpoint/2010/main" val="1619756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every</a:t>
            </a:r>
            <a:r>
              <a:rPr lang="en-US" baseline="0" dirty="0" smtClean="0"/>
              <a:t> software release our Application Deployment team must create a deployment plan. This plan is pieced together from all of the documentation provide by Engineering. We use Jira </a:t>
            </a:r>
            <a:r>
              <a:rPr lang="en-US" baseline="0" dirty="0" smtClean="0"/>
              <a:t>deployment tasks. As </a:t>
            </a:r>
            <a:r>
              <a:rPr lang="en-US" baseline="0" dirty="0" smtClean="0"/>
              <a:t>you can imagine it’s not easy for the </a:t>
            </a:r>
            <a:r>
              <a:rPr lang="en-US" baseline="0" dirty="0" smtClean="0"/>
              <a:t>AD team </a:t>
            </a:r>
            <a:r>
              <a:rPr lang="en-US" baseline="0" dirty="0" smtClean="0"/>
              <a:t>to “translate” all of the task provided by Engineering into a meaningful deployment guide</a:t>
            </a:r>
            <a:r>
              <a:rPr lang="en-US" baseline="0" dirty="0" smtClean="0"/>
              <a:t>. The team had </a:t>
            </a:r>
            <a:r>
              <a:rPr lang="en-US" baseline="0" dirty="0" smtClean="0"/>
              <a:t>to </a:t>
            </a:r>
            <a:r>
              <a:rPr lang="en-US" baseline="0" dirty="0" smtClean="0"/>
              <a:t>figure out the </a:t>
            </a:r>
            <a:r>
              <a:rPr lang="en-US" baseline="0" dirty="0" smtClean="0"/>
              <a:t>required application configurations changes, what software and version to deploy, to which servers, and in what sequence. This effort alone took roughly 3 weeks. </a:t>
            </a:r>
            <a:endParaRPr lang="en-US" baseline="0" dirty="0" smtClean="0"/>
          </a:p>
          <a:p>
            <a:endParaRPr lang="en-US" baseline="0" dirty="0" smtClean="0"/>
          </a:p>
          <a:p>
            <a:r>
              <a:rPr lang="en-US" baseline="0" dirty="0" smtClean="0"/>
              <a:t>With </a:t>
            </a:r>
            <a:r>
              <a:rPr lang="en-US" baseline="0" dirty="0" smtClean="0"/>
              <a:t>the new approach we’re now looking at days. The process is still evolving but we’re targeting for a re-usable plan that rarely changes. We want to deploy the latest software to all servers and always in the same sequence</a:t>
            </a:r>
            <a:r>
              <a:rPr lang="en-US" baseline="0" dirty="0" smtClean="0"/>
              <a:t>. Rather than creating new plans, we simply want the team to look at the deltas.</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5</a:t>
            </a:fld>
            <a:endParaRPr lang="en-US" dirty="0"/>
          </a:p>
        </p:txBody>
      </p:sp>
    </p:spTree>
    <p:extLst>
      <p:ext uri="{BB962C8B-B14F-4D97-AF65-F5344CB8AC3E}">
        <p14:creationId xmlns:p14="http://schemas.microsoft.com/office/powerpoint/2010/main" val="18401090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re we made</a:t>
            </a:r>
            <a:r>
              <a:rPr lang="en-US" baseline="0" dirty="0" smtClean="0"/>
              <a:t> the most improvement in the knowledge transfer efficiencies is in the area of application configurations. If you recall </a:t>
            </a:r>
            <a:r>
              <a:rPr lang="en-US" baseline="0" dirty="0" smtClean="0"/>
              <a:t>from the previous slides there was a manual </a:t>
            </a:r>
            <a:r>
              <a:rPr lang="en-US" baseline="0" dirty="0" smtClean="0"/>
              <a:t>work, documentation, and validation. An Engineer would make a configuration change and later summarize the work. Another engineer would then validate the task. Post release signoff the </a:t>
            </a:r>
            <a:r>
              <a:rPr lang="en-US" baseline="0" dirty="0" err="1" smtClean="0"/>
              <a:t>AppDeploy</a:t>
            </a:r>
            <a:r>
              <a:rPr lang="en-US" baseline="0" dirty="0" smtClean="0"/>
              <a:t> team would review the task and add it to their deploy plan. If a task did not contain enough information it would be sent back to Engineering for further feedback. </a:t>
            </a:r>
          </a:p>
          <a:p>
            <a:endParaRPr lang="en-US" baseline="0" dirty="0" smtClean="0"/>
          </a:p>
          <a:p>
            <a:r>
              <a:rPr lang="en-US" baseline="0" dirty="0" smtClean="0"/>
              <a:t>With the new approach we put a lot of emphasis on moving a much as possible into the software package for Engineering to maintain. We asked of Engineering to take more responsibility in the application configuration by requiring that they ship their software with a template to configure that specific version of the software. The only thing now maintained outside of the software are property values that when combined with the templates produce the applications configuration files. </a:t>
            </a:r>
          </a:p>
          <a:p>
            <a:endParaRPr lang="en-US" baseline="0" dirty="0" smtClean="0"/>
          </a:p>
          <a:p>
            <a:r>
              <a:rPr lang="en-US" baseline="0" dirty="0" smtClean="0"/>
              <a:t>We use </a:t>
            </a:r>
            <a:r>
              <a:rPr lang="en-US" baseline="0" dirty="0" err="1" smtClean="0"/>
              <a:t>ElectricCommander</a:t>
            </a:r>
            <a:r>
              <a:rPr lang="en-US" baseline="0" dirty="0" smtClean="0"/>
              <a:t> to turn manual process into actionable automated process. Rather than documenting configuration changes engineers now make changes to the software templates and then execute already predefined procedure in Commander to set the property values. The outcome is a configuration plan that can be updated and reworked until it’s ready for deployment.</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6</a:t>
            </a:fld>
            <a:endParaRPr lang="en-US" dirty="0"/>
          </a:p>
        </p:txBody>
      </p:sp>
    </p:spTree>
    <p:extLst>
      <p:ext uri="{BB962C8B-B14F-4D97-AF65-F5344CB8AC3E}">
        <p14:creationId xmlns:p14="http://schemas.microsoft.com/office/powerpoint/2010/main" val="2049680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you see</a:t>
            </a:r>
            <a:r>
              <a:rPr lang="en-US" baseline="0" dirty="0" smtClean="0"/>
              <a:t> here is our deployment and configuration workflow which presently is used against all our supported server types. Each square is a state which represents an action being applied. In our deployments we first stage properties files. This is where name values pairs are extracted from the Commander database, keys stores are sourced from different locations, and at the end are delivered to the target server. The next state are update readiness checks. This where validation is performed to ensure that software is ready for download and that the server is capable of downloading it. We then perform a service health check. It’s important to know the initial state of the service in case that there’s a problem post update. Knowing that there’s a problem ahead of the deployment can help narrow down issues.</a:t>
            </a:r>
          </a:p>
          <a:p>
            <a:endParaRPr lang="en-US" baseline="0" dirty="0" smtClean="0"/>
          </a:p>
          <a:p>
            <a:r>
              <a:rPr lang="en-US" baseline="0" dirty="0" smtClean="0"/>
              <a:t>We follow that with a software install and update. Now that we have a new template delivered by the new package we produce environment configuration with the properties delivered in the first state. This work is done in a staging directory. If successful at generating the configuration files the next state is to apply them by backing up the old, moving the new ones in place, and then restarting the application. We follow that again by running a health check. If everything look good the workflow continues to a successful state and Commander sends an email notification with a summary of the work done. Equally if it were to fail during any portion of the deployment, the failure state also sends an email notification.</a:t>
            </a:r>
          </a:p>
          <a:p>
            <a:endParaRPr lang="en-US" baseline="0" dirty="0" smtClean="0"/>
          </a:p>
          <a:p>
            <a:r>
              <a:rPr lang="en-US" baseline="0" dirty="0" smtClean="0"/>
              <a:t>This is an individual workflow to deploy software to a single server. You can see the parameter list needed to deploy the software. What we have done is wrap this in another procedure that coordinates the deployments for all of our server types. Running that procedure is much simpler than this one as it doesn’t require this much information. The only parameters that a user needs to pick are which environment they are working in and the server type which they want to deploy the software to. With data stored in Commander, it will know which servers to deploy to and will iterate through them one by one. Servers of the same server type are done sequentially, while servers of different server types are done in parallel. </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7</a:t>
            </a:fld>
            <a:endParaRPr lang="en-US" dirty="0"/>
          </a:p>
        </p:txBody>
      </p:sp>
    </p:spTree>
    <p:extLst>
      <p:ext uri="{BB962C8B-B14F-4D97-AF65-F5344CB8AC3E}">
        <p14:creationId xmlns:p14="http://schemas.microsoft.com/office/powerpoint/2010/main" val="37536864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the</a:t>
            </a:r>
            <a:r>
              <a:rPr lang="en-US" baseline="0" dirty="0" smtClean="0"/>
              <a:t> same workflow as the previous slide but I want to showcase how it’s flexible enough to deal with different conditions. Even though a failure is seen early on in the deployment, Commander know that it’s not a show stopper. The deployment can continue. It’s not until the second health check that it sees a problem that it knows should trigger a failure. </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8</a:t>
            </a:fld>
            <a:endParaRPr lang="en-US" dirty="0"/>
          </a:p>
        </p:txBody>
      </p:sp>
    </p:spTree>
    <p:extLst>
      <p:ext uri="{BB962C8B-B14F-4D97-AF65-F5344CB8AC3E}">
        <p14:creationId xmlns:p14="http://schemas.microsoft.com/office/powerpoint/2010/main" val="42706884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a:t>
            </a:r>
            <a:r>
              <a:rPr lang="en-US" baseline="0" dirty="0" smtClean="0"/>
              <a:t> what our email notification look like. Some sensitive data has been scrubbed which is why you say a lot of blanks. The </a:t>
            </a:r>
            <a:r>
              <a:rPr lang="en-US" baseline="0" dirty="0" err="1" smtClean="0"/>
              <a:t>notifiers</a:t>
            </a:r>
            <a:r>
              <a:rPr lang="en-US" baseline="0" dirty="0" smtClean="0"/>
              <a:t> are sent to predefined email list based on the application. It provides all the information needed know what was being executed. It also provides plenty of links that a user can click on to see more information about the deployment. The link a the top brings you to the workflow page. Clicking on the individual links in the Workflow state area brings you to that state where you can see what was executed and the outcome. Here it can clearly be seen that the reason why the deployment failed is because the application did not start properly after the software deployment</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9</a:t>
            </a:fld>
            <a:endParaRPr lang="en-US" dirty="0"/>
          </a:p>
        </p:txBody>
      </p:sp>
    </p:spTree>
    <p:extLst>
      <p:ext uri="{BB962C8B-B14F-4D97-AF65-F5344CB8AC3E}">
        <p14:creationId xmlns:p14="http://schemas.microsoft.com/office/powerpoint/2010/main" val="778345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defTabSz="910245">
              <a:defRPr/>
            </a:pPr>
            <a:r>
              <a:rPr lang="en-US" dirty="0" smtClean="0"/>
              <a:t>Dell SecureWorks is a international</a:t>
            </a:r>
            <a:r>
              <a:rPr lang="en-US" baseline="0" dirty="0" smtClean="0"/>
              <a:t> company with close to 4 thousand customers in over 70 countries. We have over 158 thousand managed or monitored devices that see 85 billion cyber events every day. The company employs over 1 thousand security professionals and over 200 engineers. </a:t>
            </a:r>
          </a:p>
          <a:p>
            <a:pPr defTabSz="910245">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t>In a nutshell</a:t>
            </a:r>
            <a:r>
              <a:rPr lang="en-US" sz="1200" baseline="0" dirty="0" smtClean="0"/>
              <a:t>, what dell SecureWorks does is deliver to our customers what they need to know and what they need to do from a security perspective so that they can focus on running their business.</a:t>
            </a:r>
          </a:p>
          <a:p>
            <a:pPr marL="0" indent="0">
              <a:buFont typeface="Arial" pitchFamily="34" charset="0"/>
              <a:buNone/>
            </a:pPr>
            <a:endParaRPr lang="en-US" sz="1200" dirty="0" smtClean="0"/>
          </a:p>
        </p:txBody>
      </p:sp>
      <p:sp>
        <p:nvSpPr>
          <p:cNvPr id="4" name="Date Placeholder 3"/>
          <p:cNvSpPr>
            <a:spLocks noGrp="1"/>
          </p:cNvSpPr>
          <p:nvPr>
            <p:ph type="dt" idx="10"/>
          </p:nvPr>
        </p:nvSpPr>
        <p:spPr>
          <a:xfrm>
            <a:off x="3970338" y="0"/>
            <a:ext cx="3038475" cy="465138"/>
          </a:xfrm>
          <a:prstGeom prst="rect">
            <a:avLst/>
          </a:prstGeom>
        </p:spPr>
        <p:txBody>
          <a:bodyPr/>
          <a:lstStyle/>
          <a:p>
            <a:pPr>
              <a:defRPr/>
            </a:pPr>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7534629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an example of a successful deployment. You can see the difference in color from the previous slide and how we use it as an visual aid to let engineers quickly know that a deployment was successful. These email </a:t>
            </a:r>
            <a:r>
              <a:rPr lang="en-US" baseline="0" dirty="0" err="1" smtClean="0"/>
              <a:t>notifiers</a:t>
            </a:r>
            <a:r>
              <a:rPr lang="en-US" baseline="0" dirty="0" smtClean="0"/>
              <a:t> have been extremely useful for us. On production deployment night engineers no longer need to wait for feedback from the </a:t>
            </a:r>
            <a:r>
              <a:rPr lang="en-US" baseline="0" dirty="0" err="1" smtClean="0"/>
              <a:t>AppDeploy</a:t>
            </a:r>
            <a:r>
              <a:rPr lang="en-US" baseline="0" dirty="0" smtClean="0"/>
              <a:t> team to know if something was successful or not. They are notified immediately and with the help of the links can quickly determine where in the process the failure occurred. The response time that we see is great.</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0</a:t>
            </a:fld>
            <a:endParaRPr lang="en-US" dirty="0"/>
          </a:p>
        </p:txBody>
      </p:sp>
    </p:spTree>
    <p:extLst>
      <p:ext uri="{BB962C8B-B14F-4D97-AF65-F5344CB8AC3E}">
        <p14:creationId xmlns:p14="http://schemas.microsoft.com/office/powerpoint/2010/main" val="2385759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dirty="0" smtClean="0"/>
              <a:t>Here are my tips</a:t>
            </a:r>
            <a:r>
              <a:rPr lang="en-US" baseline="0" dirty="0" smtClean="0"/>
              <a:t> and suggestions based on the things I learned along the way. Hopefully there are key take away points to help you so that you don’t have to learned them the hard way.</a:t>
            </a:r>
          </a:p>
          <a:p>
            <a:pPr lvl="0" rtl="0"/>
            <a:endParaRPr lang="en-US" baseline="0" dirty="0" smtClean="0"/>
          </a:p>
          <a:p>
            <a:pPr lvl="0" rtl="0"/>
            <a:r>
              <a:rPr lang="en-US" baseline="0" dirty="0" smtClean="0"/>
              <a:t>Think big, plan big, but start small. Know what your overall goal but start with a small subset. You don’t want to bite off more than you can chew. Build a solid foundation, become really good at what you do and then expand. A poorly executed solution is a bad investment for the future. </a:t>
            </a:r>
          </a:p>
          <a:p>
            <a:pPr lvl="0" rtl="0"/>
            <a:endParaRPr lang="en-US" sz="1200" baseline="0" dirty="0" smtClean="0"/>
          </a:p>
          <a:p>
            <a:pPr lvl="0" rtl="0"/>
            <a:r>
              <a:rPr lang="en-US" sz="1200" baseline="0" dirty="0" smtClean="0"/>
              <a:t>Set standards, be consistent and enforce them in all your environments. If needed rebuild and align your environments. You will not be successful at automating inconsistency.</a:t>
            </a:r>
          </a:p>
          <a:p>
            <a:pPr lvl="0" rtl="0"/>
            <a:endParaRPr lang="en-US" sz="1200" baseline="0" dirty="0" smtClean="0"/>
          </a:p>
          <a:p>
            <a:pPr lvl="0" rtl="0"/>
            <a:r>
              <a:rPr lang="en-US" sz="1200" baseline="0" dirty="0" smtClean="0"/>
              <a:t>Make sure that you have a stake holder agreement and that everyone’s goals are aligned. Every team affected must be aware and be on board with the changes. Not having a team on board could be enough to derail the whole effort.</a:t>
            </a:r>
          </a:p>
          <a:p>
            <a:pPr lvl="0" rtl="0"/>
            <a:endParaRPr lang="en-US" sz="1200" baseline="0" dirty="0" smtClean="0"/>
          </a:p>
          <a:p>
            <a:pPr lvl="0" rtl="0"/>
            <a:r>
              <a:rPr lang="en-US" sz="1200" baseline="0" dirty="0" smtClean="0"/>
              <a:t>Don’t forget to stop to analyze and reevaluate your solution. You will not get it 100% correct the first time but you’ll have plenty of opportunity to correct it. You may find that you need to take a new direction. Don’t be afraid of it, just be prepared.</a:t>
            </a:r>
          </a:p>
          <a:p>
            <a:pPr lvl="0" rtl="0"/>
            <a:endParaRPr lang="en-US" sz="1200" baseline="0" dirty="0" smtClean="0"/>
          </a:p>
          <a:p>
            <a:pPr lvl="0" rtl="0"/>
            <a:r>
              <a:rPr lang="en-US" sz="1200" baseline="0" dirty="0" smtClean="0"/>
              <a:t>Another item not on this list in changing mindset. The </a:t>
            </a:r>
            <a:r>
              <a:rPr lang="en-US" sz="1200" baseline="0" dirty="0" err="1" smtClean="0"/>
              <a:t>DevOps</a:t>
            </a:r>
            <a:r>
              <a:rPr lang="en-US" sz="1200" baseline="0" dirty="0" smtClean="0"/>
              <a:t> movement is also about changing mindsets and looking at problems from a different perspective. For many different reason you may find it very difficult to change that mind set of people in the organization. The groups that you’re dealing with may be too large and getting everyone to pay attention isn’t possible. Other business objectives may get in the way.  If that happens make sure that you use your tools to set up a process that can’t be bypassed. Engineers are very creative people… that’s good when they are creative with what they are developing, but a problematic when a couple hundred engineers are coming up with different ways to deploy and configure their software. If there’s a tool that can easily be used to deploy and configure software, Engineers will be happy to use it rather than having to come up with something themselves.</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2</a:t>
            </a:fld>
            <a:endParaRPr lang="en-US" dirty="0"/>
          </a:p>
        </p:txBody>
      </p:sp>
    </p:spTree>
    <p:extLst>
      <p:ext uri="{BB962C8B-B14F-4D97-AF65-F5344CB8AC3E}">
        <p14:creationId xmlns:p14="http://schemas.microsoft.com/office/powerpoint/2010/main" val="3170719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that you know a little more about the company let’s look at Engineering’s business objective</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2601505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aseline="0" dirty="0" smtClean="0"/>
              <a:t>Our business objectives are very basic and revolve around a main goal which is to get to market quicker. </a:t>
            </a:r>
          </a:p>
          <a:p>
            <a:endParaRPr lang="en-US" baseline="0" dirty="0" smtClean="0"/>
          </a:p>
          <a:p>
            <a:r>
              <a:rPr lang="en-US" baseline="0" dirty="0" smtClean="0"/>
              <a:t>We want to continue to do this while also maintaining a high standard of quality. We don’t want to trade quality for speed.</a:t>
            </a:r>
          </a:p>
          <a:p>
            <a:endParaRPr lang="en-US" baseline="0" dirty="0" smtClean="0"/>
          </a:p>
          <a:p>
            <a:r>
              <a:rPr lang="en-US" baseline="0" dirty="0" smtClean="0"/>
              <a:t>In order to protect our customers and respond to the billions of cyber events we need to be provide a high level of platform availability by being fully operational 24 X 7 X 365 day of the year. At a rate of 59 million events per minute any down time can be costly.</a:t>
            </a:r>
          </a:p>
          <a:p>
            <a:endParaRPr lang="en-US" baseline="0" dirty="0" smtClean="0"/>
          </a:p>
          <a:p>
            <a:r>
              <a:rPr lang="en-US" baseline="0" dirty="0" smtClean="0"/>
              <a:t>We want to respond quickly to our customer needs by reducing our time to market so that we can provide new products, features, and new ways to combat cyber threats.</a:t>
            </a:r>
          </a:p>
          <a:p>
            <a:endParaRPr lang="en-US" baseline="0" dirty="0" smtClean="0"/>
          </a:p>
          <a:p>
            <a:r>
              <a:rPr lang="en-US" baseline="0" dirty="0" smtClean="0"/>
              <a:t>For many years we’ve delivered software on a quarterly basis. With the rapid shifts in the market we believe that we can provide a better experience for our customers by moving from quarterly releases to value based releases on a monthly schedule</a:t>
            </a:r>
            <a:endParaRPr lang="en-US" dirty="0"/>
          </a:p>
        </p:txBody>
      </p:sp>
      <p:sp>
        <p:nvSpPr>
          <p:cNvPr id="4" name="Slide Number Placeholder 3"/>
          <p:cNvSpPr>
            <a:spLocks noGrp="1"/>
          </p:cNvSpPr>
          <p:nvPr>
            <p:ph type="sldNum" sz="quarter" idx="10"/>
          </p:nvPr>
        </p:nvSpPr>
        <p:spPr/>
        <p:txBody>
          <a:bodyPr/>
          <a:lstStyle/>
          <a:p>
            <a:fld id="{41F1FC71-D5C4-4F40-B44D-92CB12A8E0FE}" type="slidenum">
              <a:rPr lang="en-US" smtClean="0"/>
              <a:t>4</a:t>
            </a:fld>
            <a:endParaRPr lang="en-US" dirty="0"/>
          </a:p>
        </p:txBody>
      </p:sp>
    </p:spTree>
    <p:extLst>
      <p:ext uri="{BB962C8B-B14F-4D97-AF65-F5344CB8AC3E}">
        <p14:creationId xmlns:p14="http://schemas.microsoft.com/office/powerpoint/2010/main" val="4134119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the </a:t>
            </a:r>
            <a:r>
              <a:rPr lang="en-US" dirty="0" smtClean="0"/>
              <a:t>following section I will cover</a:t>
            </a:r>
            <a:r>
              <a:rPr lang="en-US" baseline="0" dirty="0" smtClean="0"/>
              <a:t> our internally challenges which come in many forms such as software, datacenters, and system configuration. Although these are the challenges we face I‘m sure that many of you will relate to many of them.</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5</a:t>
            </a:fld>
            <a:endParaRPr lang="en-US" dirty="0"/>
          </a:p>
        </p:txBody>
      </p:sp>
    </p:spTree>
    <p:extLst>
      <p:ext uri="{BB962C8B-B14F-4D97-AF65-F5344CB8AC3E}">
        <p14:creationId xmlns:p14="http://schemas.microsoft.com/office/powerpoint/2010/main" val="951396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ronting today’s cyber</a:t>
            </a:r>
            <a:r>
              <a:rPr lang="en-US" baseline="0" dirty="0" smtClean="0"/>
              <a:t> security challenges requires extremely sophisticated and complex systems which themselves present a unique set of challenges.</a:t>
            </a:r>
          </a:p>
          <a:p>
            <a:endParaRPr lang="en-US" baseline="0" dirty="0" smtClean="0"/>
          </a:p>
          <a:p>
            <a:r>
              <a:rPr lang="en-US" baseline="0" dirty="0" smtClean="0"/>
              <a:t>In total we have over 2100 servers across all of our test and productions environments. That number does not include appliances or any corporate servers. This number strictly refers to systems used to provide our services to our customers. These servers break down into more than 80 different server types, or servers that server a different function. To further complicate things the number of servers serving the same roles, servers within a server-type, differ from environment to environment.</a:t>
            </a:r>
          </a:p>
          <a:p>
            <a:endParaRPr lang="en-US" baseline="0" dirty="0" smtClean="0"/>
          </a:p>
          <a:p>
            <a:r>
              <a:rPr lang="en-US" baseline="0" dirty="0" smtClean="0"/>
              <a:t>We have an extensive software library comprising of over 350 software packages. They range in size from just a few kilobytes to a couple hundred megabytes. Some of the software packages share the same libraries, many are installed across many different server types, and many conflict with one another.  </a:t>
            </a:r>
          </a:p>
          <a:p>
            <a:endParaRPr lang="en-US" baseline="0" dirty="0" smtClean="0"/>
          </a:p>
          <a:p>
            <a:pPr marL="0" marR="0" lvl="1" indent="0" algn="l" defTabSz="914400" rtl="0" eaLnBrk="0" fontAlgn="base" latinLnBrk="0" hangingPunct="0">
              <a:lnSpc>
                <a:spcPct val="100000"/>
              </a:lnSpc>
              <a:spcBef>
                <a:spcPct val="30000"/>
              </a:spcBef>
              <a:spcAft>
                <a:spcPct val="0"/>
              </a:spcAft>
              <a:buClrTx/>
              <a:buSzTx/>
              <a:buFontTx/>
              <a:buNone/>
              <a:tabLst/>
              <a:defRPr/>
            </a:pPr>
            <a:r>
              <a:rPr lang="en-US" baseline="0" dirty="0" smtClean="0"/>
              <a:t>All of our systems are in one way or another interconnected. It’s one harmonious system. In order to achieve this harmony all systems must be properly configured to communicate with one another. A misconfigured server can be very problematic. A very big problem of ours was that up until recently we did not have unified configuration management solution that spanned across all of our environments. Engineering did things their way in test environments and then documented those changes. Our Application Deployment team would follow the documentation and apply those changes to the production environments. As you can imagine this effort was time consuming and error prone.</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6</a:t>
            </a:fld>
            <a:endParaRPr lang="en-US" dirty="0"/>
          </a:p>
        </p:txBody>
      </p:sp>
    </p:spTree>
    <p:extLst>
      <p:ext uri="{BB962C8B-B14F-4D97-AF65-F5344CB8AC3E}">
        <p14:creationId xmlns:p14="http://schemas.microsoft.com/office/powerpoint/2010/main" val="1419693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dirty="0" smtClean="0"/>
              <a:t>When it come to datacenter locations we</a:t>
            </a:r>
            <a:r>
              <a:rPr lang="en-US" baseline="0" dirty="0" smtClean="0"/>
              <a:t> have multiple sites within the United States in an active </a:t>
            </a:r>
            <a:r>
              <a:rPr lang="en-US" baseline="0" dirty="0" err="1" smtClean="0"/>
              <a:t>active</a:t>
            </a:r>
            <a:r>
              <a:rPr lang="en-US" baseline="0" dirty="0" smtClean="0"/>
              <a:t> model. Not only do our sites operate in an active </a:t>
            </a:r>
            <a:r>
              <a:rPr lang="en-US" baseline="0" dirty="0" err="1" smtClean="0"/>
              <a:t>active</a:t>
            </a:r>
            <a:r>
              <a:rPr lang="en-US" baseline="0" dirty="0" smtClean="0"/>
              <a:t> model but so does our software. Our test environments sites are not 100% aligned. Some of our testing sites do not exit in our production environment and vise versa. We also have a far superior number of servers in our production sites. Our test ‘are miniature production environments. </a:t>
            </a:r>
          </a:p>
          <a:p>
            <a:pPr lvl="0" rtl="0"/>
            <a:endParaRPr lang="en-US" baseline="0" dirty="0" smtClean="0"/>
          </a:p>
          <a:p>
            <a:pPr lvl="0" rtl="0"/>
            <a:r>
              <a:rPr lang="en-US" baseline="0" dirty="0" smtClean="0"/>
              <a:t>We have a complex network layout that we segment due to security reasons. We obviously separate our production and test environments but  not only due to security reasons but also to minimize cross environment contamination. Aside from environment segmentation we also have separation of networks within environments.</a:t>
            </a:r>
          </a:p>
          <a:p>
            <a:pPr lvl="0" rtl="0"/>
            <a:endParaRPr lang="en-US" baseline="0" dirty="0" smtClean="0"/>
          </a:p>
          <a:p>
            <a:pPr lvl="0" rtl="0"/>
            <a:r>
              <a:rPr lang="en-US" baseline="0" dirty="0" smtClean="0"/>
              <a:t>Due to the nature of our business we have strict policies on which personnel can take actions on particular environments. These policies results </a:t>
            </a:r>
            <a:r>
              <a:rPr lang="en-US" baseline="0" dirty="0" err="1" smtClean="0"/>
              <a:t>siloed</a:t>
            </a:r>
            <a:r>
              <a:rPr lang="en-US" baseline="0" dirty="0" smtClean="0"/>
              <a:t> responsibilities. Things such as bare metal builds or server management are performed by different teams for different environments. If you haven’t gotten it from my previous slides the same goes for software deployment and application configuration.</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7</a:t>
            </a:fld>
            <a:endParaRPr lang="en-US" dirty="0"/>
          </a:p>
        </p:txBody>
      </p:sp>
    </p:spTree>
    <p:extLst>
      <p:ext uri="{BB962C8B-B14F-4D97-AF65-F5344CB8AC3E}">
        <p14:creationId xmlns:p14="http://schemas.microsoft.com/office/powerpoint/2010/main" val="1419693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a:t>
            </a:r>
            <a:r>
              <a:rPr lang="en-US" baseline="0" dirty="0" smtClean="0"/>
              <a:t> you see here is an example of an individual stack of part of our platform. At the top we have the customer web front end. Network traffic comes in and traverses a first set of load balancers and reaches our bastion servers. The bastion host then make request or forward their traffic to our core services. The bastions servers don’t know of the core servers themselves but they know of the load balancers in front of them. This is the second set of load balancers that the traffic traverses. Based on the health of the service requested by the bastions and number of connections, the load balancers makes a determination as to which server it should forward the traffic to. The traffic is forwarded to a core server where it either does work or makes further queries to our databases. Each core server has multiple services which are the items that you see inside of the core services bubbles.</a:t>
            </a:r>
          </a:p>
          <a:p>
            <a:endParaRPr lang="en-US" baseline="0" dirty="0" smtClean="0"/>
          </a:p>
          <a:p>
            <a:r>
              <a:rPr lang="en-US" baseline="0" dirty="0" smtClean="0"/>
              <a:t>Our software deployments are performed from the bottom up. Deployments of the same server type are performed serially, while deployments of different server types are performed in parallel.  </a:t>
            </a:r>
            <a:endParaRPr lang="en-US" dirty="0" smtClean="0"/>
          </a:p>
        </p:txBody>
      </p:sp>
      <p:sp>
        <p:nvSpPr>
          <p:cNvPr id="4" name="Slide Number Placeholder 3"/>
          <p:cNvSpPr>
            <a:spLocks noGrp="1"/>
          </p:cNvSpPr>
          <p:nvPr>
            <p:ph type="sldNum" sz="quarter" idx="10"/>
          </p:nvPr>
        </p:nvSpPr>
        <p:spPr/>
        <p:txBody>
          <a:bodyPr/>
          <a:lstStyle/>
          <a:p>
            <a:pPr>
              <a:defRPr/>
            </a:pPr>
            <a:fld id="{E39B5D69-479B-4A03-A297-92ED9B027B53}"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3442010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that you have a better idea of our challenges I’ll talk about the approach taken to deal with them so that we can meet or business objectives.</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9</a:t>
            </a:fld>
            <a:endParaRPr lang="en-US" dirty="0"/>
          </a:p>
        </p:txBody>
      </p:sp>
    </p:spTree>
    <p:extLst>
      <p:ext uri="{BB962C8B-B14F-4D97-AF65-F5344CB8AC3E}">
        <p14:creationId xmlns:p14="http://schemas.microsoft.com/office/powerpoint/2010/main" val="3289292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tif"/><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png"/><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 Id="rId4" Type="http://schemas.openxmlformats.org/officeDocument/2006/relationships/image" Target="../media/image24.emf"/></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364632" y="365761"/>
            <a:ext cx="5200791" cy="1711395"/>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364632" y="2517418"/>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6" name="Picture 5" descr="white"/>
          <p:cNvPicPr>
            <a:picLocks noChangeAspect="1" noChangeArrowheads="1"/>
          </p:cNvPicPr>
          <p:nvPr userDrawn="1"/>
        </p:nvPicPr>
        <p:blipFill>
          <a:blip r:embed="rId3" cstate="screen"/>
          <a:srcRect/>
          <a:stretch>
            <a:fillRect/>
          </a:stretch>
        </p:blipFill>
        <p:spPr bwMode="black">
          <a:xfrm>
            <a:off x="7838326" y="5550254"/>
            <a:ext cx="1023494" cy="1023494"/>
          </a:xfrm>
          <a:prstGeom prst="rect">
            <a:avLst/>
          </a:prstGeom>
          <a:noFill/>
          <a:ln w="9525">
            <a:noFill/>
            <a:miter lim="800000"/>
            <a:headEnd/>
            <a:tailEnd/>
          </a:ln>
        </p:spPr>
      </p:pic>
      <p:sp>
        <p:nvSpPr>
          <p:cNvPr id="5" name="TextBox 4"/>
          <p:cNvSpPr txBox="1"/>
          <p:nvPr userDrawn="1"/>
        </p:nvSpPr>
        <p:spPr>
          <a:xfrm>
            <a:off x="6255976" y="5957199"/>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2730887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21"/>
          <p:cNvSpPr>
            <a:spLocks noGrp="1"/>
          </p:cNvSpPr>
          <p:nvPr>
            <p:ph type="ctrTitle" hasCustomPrompt="1"/>
          </p:nvPr>
        </p:nvSpPr>
        <p:spPr>
          <a:xfrm>
            <a:off x="353343" y="367681"/>
            <a:ext cx="5200791" cy="2036852"/>
          </a:xfrm>
        </p:spPr>
        <p:txBody>
          <a:bodyPr wrap="square" anchor="t" anchorCtr="0">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6" name="Text Placeholder 12"/>
          <p:cNvSpPr>
            <a:spLocks noGrp="1"/>
          </p:cNvSpPr>
          <p:nvPr>
            <p:ph type="subTitle" idx="1"/>
          </p:nvPr>
        </p:nvSpPr>
        <p:spPr>
          <a:xfrm>
            <a:off x="353343" y="2517418"/>
            <a:ext cx="5200791" cy="276999"/>
          </a:xfrm>
        </p:spPr>
        <p:txBody>
          <a:bodyPr wrap="square" lIns="0" tIns="0" rIns="0" bIns="0" anchor="t" anchorCtr="0">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pic>
        <p:nvPicPr>
          <p:cNvPr id="8" name="Picture 7" descr="white"/>
          <p:cNvPicPr>
            <a:picLocks noChangeAspect="1" noChangeArrowheads="1"/>
          </p:cNvPicPr>
          <p:nvPr userDrawn="1"/>
        </p:nvPicPr>
        <p:blipFill>
          <a:blip r:embed="rId3" cstate="screen"/>
          <a:srcRect/>
          <a:stretch>
            <a:fillRect/>
          </a:stretch>
        </p:blipFill>
        <p:spPr bwMode="black">
          <a:xfrm>
            <a:off x="7838326" y="5550254"/>
            <a:ext cx="1023494" cy="1023494"/>
          </a:xfrm>
          <a:prstGeom prst="rect">
            <a:avLst/>
          </a:prstGeom>
          <a:noFill/>
          <a:ln w="9525">
            <a:noFill/>
            <a:miter lim="800000"/>
            <a:headEnd/>
            <a:tailEnd/>
          </a:ln>
        </p:spPr>
      </p:pic>
      <p:sp>
        <p:nvSpPr>
          <p:cNvPr id="7" name="TextBox 6"/>
          <p:cNvSpPr txBox="1"/>
          <p:nvPr userDrawn="1"/>
        </p:nvSpPr>
        <p:spPr>
          <a:xfrm>
            <a:off x="6246923" y="593909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119285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vl1pPr>
          </a:lstStyle>
          <a:p>
            <a:r>
              <a:rPr lang="en-US" dirty="0" smtClean="0"/>
              <a:t>Click to edit Master title style</a:t>
            </a:r>
            <a:endParaRPr lang="en-US" dirty="0"/>
          </a:p>
        </p:txBody>
      </p:sp>
      <p:sp>
        <p:nvSpPr>
          <p:cNvPr id="6" name="Text Placeholder 8"/>
          <p:cNvSpPr>
            <a:spLocks noGrp="1"/>
          </p:cNvSpPr>
          <p:nvPr>
            <p:ph type="body" sz="quarter" idx="13"/>
          </p:nvPr>
        </p:nvSpPr>
        <p:spPr>
          <a:xfrm>
            <a:off x="301625" y="827330"/>
            <a:ext cx="8597900" cy="310433"/>
          </a:xfrm>
        </p:spPr>
        <p:txBody>
          <a:bodyPr>
            <a:noAutofit/>
          </a:bodyPr>
          <a:lstStyle>
            <a:lvl1pPr marL="0" indent="0">
              <a:buNone/>
              <a:defRPr sz="1600" b="1">
                <a:solidFill>
                  <a:srgbClr val="66A1C7"/>
                </a:solidFill>
              </a:defRPr>
            </a:lvl1pPr>
            <a:lvl2pPr marL="457200" indent="0">
              <a:buNone/>
              <a:defRPr sz="1600" b="1">
                <a:solidFill>
                  <a:srgbClr val="66A1C7"/>
                </a:solidFill>
              </a:defRPr>
            </a:lvl2pPr>
            <a:lvl3pPr marL="914400" indent="0">
              <a:buNone/>
              <a:defRPr sz="1600" b="1">
                <a:solidFill>
                  <a:srgbClr val="66A1C7"/>
                </a:solidFill>
              </a:defRPr>
            </a:lvl3pPr>
            <a:lvl4pPr marL="1371600" indent="0">
              <a:buNone/>
              <a:defRPr sz="1600" b="1">
                <a:solidFill>
                  <a:srgbClr val="66A1C7"/>
                </a:solidFill>
              </a:defRPr>
            </a:lvl4pPr>
            <a:lvl5pPr marL="1828800" indent="0">
              <a:buNone/>
              <a:defRPr sz="1600" b="1">
                <a:solidFill>
                  <a:srgbClr val="66A1C7"/>
                </a:solidFill>
              </a:defRPr>
            </a:lvl5pPr>
          </a:lstStyle>
          <a:p>
            <a:pPr lvl="0"/>
            <a:r>
              <a:rPr lang="en-US" dirty="0" smtClean="0"/>
              <a:t>Click to edit Master text styles</a:t>
            </a:r>
          </a:p>
        </p:txBody>
      </p:sp>
      <p:sp>
        <p:nvSpPr>
          <p:cNvPr id="4" name="Footer Placeholder 4"/>
          <p:cNvSpPr>
            <a:spLocks noGrp="1"/>
          </p:cNvSpPr>
          <p:nvPr>
            <p:ph type="ftr" sz="quarter" idx="14"/>
          </p:nvPr>
        </p:nvSpPr>
        <p:spPr/>
        <p:txBody>
          <a:bodyPr/>
          <a:lstStyle>
            <a:lvl1pPr>
              <a:defRPr/>
            </a:lvl1pPr>
          </a:lstStyle>
          <a:p>
            <a:pPr>
              <a:defRPr/>
            </a:pPr>
            <a:r>
              <a:rPr lang="en-US"/>
              <a:t>Electric Cloud Proprietary &amp; Confidential.</a:t>
            </a:r>
            <a:endParaRPr lang="en-US" dirty="0"/>
          </a:p>
        </p:txBody>
      </p:sp>
      <p:sp>
        <p:nvSpPr>
          <p:cNvPr id="5" name="Slide Number Placeholder 5"/>
          <p:cNvSpPr>
            <a:spLocks noGrp="1"/>
          </p:cNvSpPr>
          <p:nvPr>
            <p:ph type="sldNum" sz="quarter" idx="15"/>
          </p:nvPr>
        </p:nvSpPr>
        <p:spPr/>
        <p:txBody>
          <a:bodyPr/>
          <a:lstStyle>
            <a:lvl1pPr>
              <a:defRPr/>
            </a:lvl1pPr>
          </a:lstStyle>
          <a:p>
            <a:pPr>
              <a:defRPr/>
            </a:pPr>
            <a:fld id="{F2D280EF-2E8C-4832-A48A-0325E1F93F23}" type="slidenum">
              <a:rPr lang="en-US"/>
              <a:pPr>
                <a:defRPr/>
              </a:pPr>
              <a:t>‹#›</a:t>
            </a:fld>
            <a:endParaRPr lang="en-US" dirty="0"/>
          </a:p>
        </p:txBody>
      </p:sp>
    </p:spTree>
    <p:extLst>
      <p:ext uri="{BB962C8B-B14F-4D97-AF65-F5344CB8AC3E}">
        <p14:creationId xmlns:p14="http://schemas.microsoft.com/office/powerpoint/2010/main" val="25606358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57200" y="2679491"/>
            <a:ext cx="5962650" cy="1006685"/>
          </a:xfrm>
        </p:spPr>
        <p:txBody>
          <a:bodyPr anchor="b" anchorCtr="0"/>
          <a:lstStyle>
            <a:lvl1pPr algn="l">
              <a:lnSpc>
                <a:spcPts val="4000"/>
              </a:lnSpc>
              <a:defRPr sz="36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57202" y="4165391"/>
            <a:ext cx="5953125" cy="800101"/>
          </a:xfrm>
        </p:spPr>
        <p:txBody>
          <a:bodyPr lIns="0" tIns="0" rIns="0" bIns="0" anchor="t" anchorCtr="0">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en-US" smtClean="0"/>
              <a:t>Click to edit Master subtitle style</a:t>
            </a:r>
            <a:endParaRPr lang="en-US" dirty="0" smtClean="0"/>
          </a:p>
        </p:txBody>
      </p:sp>
      <p:cxnSp>
        <p:nvCxnSpPr>
          <p:cNvPr id="8" name="Straight Connector 7"/>
          <p:cNvCxnSpPr/>
          <p:nvPr/>
        </p:nvCxnSpPr>
        <p:spPr>
          <a:xfrm>
            <a:off x="447675" y="178117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507682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44444"/>
              </a:solidFill>
              <a:latin typeface="Trebuchet MS" pitchFamily="34" charset="0"/>
            </a:endParaRPr>
          </a:p>
        </p:txBody>
      </p:sp>
      <p:sp>
        <p:nvSpPr>
          <p:cNvPr id="14" name="Rectangle 13"/>
          <p:cNvSpPr/>
          <p:nvPr/>
        </p:nvSpPr>
        <p:spPr bwMode="hidden">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44444"/>
              </a:solidFill>
              <a:latin typeface="Trebuchet MS" pitchFamily="34" charset="0"/>
            </a:endParaRPr>
          </a:p>
        </p:txBody>
      </p:sp>
      <p:sp>
        <p:nvSpPr>
          <p:cNvPr id="19" name="Rectangle 18"/>
          <p:cNvSpPr/>
          <p:nvPr/>
        </p:nvSpPr>
        <p:spPr bwMode="hidden">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44444"/>
              </a:solidFill>
              <a:latin typeface="Trebuchet MS" pitchFamily="34" charset="0"/>
            </a:endParaRPr>
          </a:p>
        </p:txBody>
      </p:sp>
      <p:pic>
        <p:nvPicPr>
          <p:cNvPr id="11" name="Picture 10" descr="dell_blue_lrg_logo.png"/>
          <p:cNvPicPr>
            <a:picLocks noChangeAspect="1"/>
          </p:cNvPicPr>
          <p:nvPr/>
        </p:nvPicPr>
        <p:blipFill>
          <a:blip r:embed="rId2" cstate="screen"/>
          <a:stretch>
            <a:fillRect/>
          </a:stretch>
        </p:blipFill>
        <p:spPr>
          <a:xfrm>
            <a:off x="7265291" y="2651761"/>
            <a:ext cx="1487427" cy="1487427"/>
          </a:xfrm>
          <a:prstGeom prst="rect">
            <a:avLst/>
          </a:prstGeom>
        </p:spPr>
      </p:pic>
    </p:spTree>
    <p:extLst>
      <p:ext uri="{BB962C8B-B14F-4D97-AF65-F5344CB8AC3E}">
        <p14:creationId xmlns:p14="http://schemas.microsoft.com/office/powerpoint/2010/main" val="2886252999"/>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57200" y="1280160"/>
            <a:ext cx="8229600" cy="475488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0" name="Straight Connector 19"/>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5"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6"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8"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BB6F54E-3946-4129-BAF5-9930C0443DDF}"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074214943"/>
      </p:ext>
    </p:extLst>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41425"/>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41425"/>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5"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9BF82140-CD70-4479-941C-C840EE68730B}"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540622871"/>
      </p:ext>
    </p:extLst>
  </p:cSld>
  <p:clrMapOvr>
    <a:masterClrMapping/>
  </p:clrMapOvr>
  <p:transition spd="med">
    <p:wipe dir="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37786"/>
            <a:ext cx="4023360" cy="2888167"/>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37786"/>
            <a:ext cx="4023360" cy="2888167"/>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4" name="Content Placeholder 3"/>
          <p:cNvSpPr>
            <a:spLocks noGrp="1"/>
          </p:cNvSpPr>
          <p:nvPr>
            <p:ph sz="quarter" idx="12"/>
          </p:nvPr>
        </p:nvSpPr>
        <p:spPr>
          <a:xfrm>
            <a:off x="434975" y="4270916"/>
            <a:ext cx="8262938" cy="18949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18E63B37-8470-4135-B242-C53F7908D5CE}"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908953410"/>
      </p:ext>
    </p:extLst>
  </p:cSld>
  <p:clrMapOvr>
    <a:masterClrMapping/>
  </p:clrMapOvr>
  <p:transition spd="med">
    <p:wipe dir="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40" y="6431530"/>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761E2762-DA28-46DA-B1AD-11E0E3328066}"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641025340"/>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60A00CAE-9501-4FD5-9A09-9E74239E9C83}"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834935770"/>
      </p:ext>
    </p:extLst>
  </p:cSld>
  <p:clrMapOvr>
    <a:masterClrMapping/>
  </p:clrMapOvr>
  <p:transition spd="med">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9"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49A4D60-A096-441E-A4E4-7FABA2BF6C64}"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4032441510"/>
      </p:ext>
    </p:extLst>
  </p:cSld>
  <p:clrMapOvr>
    <a:masterClrMapping/>
  </p:clrMapOvr>
  <p:transition spd="med">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1C377CD9-7084-48E8-9ECA-B85CE3D96230}"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153985556"/>
      </p:ext>
    </p:extLst>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C9D356A1-03A8-4D9B-90C5-35D8DCB1BEF4}"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353380110"/>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99573" y="621068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2704814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AC43D6F-4F98-4948-B164-F6CD68DCE726}"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813356120"/>
      </p:ext>
    </p:extLst>
  </p:cSld>
  <p:clrMapOvr>
    <a:masterClrMapping/>
  </p:clrMapOvr>
  <p:transition spd="med">
    <p:wipe dir="r"/>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457200"/>
            <a:ext cx="3657600" cy="36576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3200" b="0">
                <a:solidFill>
                  <a:schemeClr val="tx2"/>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ECF06CDF-D46E-4A79-918F-4DCD1F8690D4}"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89064714"/>
      </p:ext>
    </p:extLst>
  </p:cSld>
  <p:clrMapOvr>
    <a:masterClrMapping/>
  </p:clrMapOvr>
  <p:transition spd="med">
    <p:wipe dir="r"/>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Section_Red">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457200"/>
            <a:ext cx="3657600" cy="3657600"/>
          </a:xfrm>
          <a:prstGeom prst="roundRect">
            <a:avLst>
              <a:gd name="adj" fmla="val 2752"/>
            </a:avLst>
          </a:prstGeom>
          <a:solidFill>
            <a:srgbClr val="DC5034"/>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3200" b="0">
                <a:solidFill>
                  <a:schemeClr val="tx2"/>
                </a:solidFill>
                <a:latin typeface="+mj-lt"/>
              </a:defRPr>
            </a:lvl1pPr>
          </a:lstStyle>
          <a:p>
            <a:r>
              <a:rPr lang="en-US" smtClean="0"/>
              <a:t>Click to edit Master title style</a:t>
            </a:r>
            <a:endParaRPr lang="en-US" dirty="0"/>
          </a:p>
        </p:txBody>
      </p:sp>
      <p:pic>
        <p:nvPicPr>
          <p:cNvPr id="14" name="Picture 13" descr="dell_gray_logo.png"/>
          <p:cNvPicPr>
            <a:picLocks noChangeAspect="1"/>
          </p:cNvPicPr>
          <p:nvPr/>
        </p:nvPicPr>
        <p:blipFill>
          <a:blip r:embed="rId2" cstate="print"/>
          <a:stretch>
            <a:fillRect/>
          </a:stretch>
        </p:blipFill>
        <p:spPr>
          <a:xfrm>
            <a:off x="8193026" y="6226688"/>
            <a:ext cx="573025" cy="573025"/>
          </a:xfrm>
          <a:prstGeom prst="rect">
            <a:avLst/>
          </a:prstGeom>
        </p:spPr>
      </p:pic>
      <p:sp>
        <p:nvSpPr>
          <p:cNvPr id="9" name="Slide Number Placeholder 5"/>
          <p:cNvSpPr>
            <a:spLocks noGrp="1"/>
          </p:cNvSpPr>
          <p:nvPr>
            <p:ph type="sldNum" sz="quarter" idx="4"/>
          </p:nvPr>
        </p:nvSpPr>
        <p:spPr>
          <a:xfrm>
            <a:off x="444504" y="6440495"/>
            <a:ext cx="260349" cy="152399"/>
          </a:xfrm>
          <a:prstGeom prst="rect">
            <a:avLst/>
          </a:prstGeom>
        </p:spPr>
        <p:txBody>
          <a:bodyPr vert="horz" lIns="0" tIns="0" rIns="91440" bIns="0" rtlCol="0" anchor="ctr"/>
          <a:lstStyle>
            <a:lvl1pPr algn="l">
              <a:defRPr sz="900">
                <a:solidFill>
                  <a:schemeClr val="accent4"/>
                </a:solidFill>
                <a:latin typeface="+mj-lt"/>
              </a:defRPr>
            </a:lvl1pPr>
          </a:lstStyle>
          <a:p>
            <a:fld id="{DBD5246C-868F-410A-AE52-FE248EDADC46}" type="slidenum">
              <a:rPr lang="en-US" smtClean="0">
                <a:solidFill>
                  <a:srgbClr val="DC5034"/>
                </a:solidFill>
              </a:rPr>
              <a:pPr/>
              <a:t>‹#›</a:t>
            </a:fld>
            <a:endParaRPr lang="en-US" dirty="0">
              <a:solidFill>
                <a:srgbClr val="DC5034"/>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accent4"/>
                </a:solidFill>
                <a:latin typeface="+mj-lt"/>
              </a:defRPr>
            </a:lvl1pPr>
          </a:lstStyle>
          <a:p>
            <a:r>
              <a:rPr lang="en-US" dirty="0" smtClean="0">
                <a:solidFill>
                  <a:srgbClr val="DC5034"/>
                </a:solidFill>
              </a:rPr>
              <a:t>Confidential</a:t>
            </a:r>
            <a:endParaRPr lang="en-US" dirty="0">
              <a:solidFill>
                <a:srgbClr val="DC5034"/>
              </a:solidFill>
            </a:endParaRPr>
          </a:p>
        </p:txBody>
      </p:sp>
    </p:spTree>
    <p:extLst>
      <p:ext uri="{BB962C8B-B14F-4D97-AF65-F5344CB8AC3E}">
        <p14:creationId xmlns:p14="http://schemas.microsoft.com/office/powerpoint/2010/main" val="112457806"/>
      </p:ext>
    </p:extLst>
  </p:cSld>
  <p:clrMapOvr>
    <a:masterClrMapping/>
  </p:clrMapOvr>
  <p:transition spd="med">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8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1119208507"/>
      </p:ext>
    </p:extLst>
  </p:cSld>
  <p:clrMapOvr>
    <a:masterClrMapping/>
  </p:clrMapOvr>
  <p:transition spd="med">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7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3461238283"/>
      </p:ext>
    </p:extLst>
  </p:cSld>
  <p:clrMapOvr>
    <a:masterClrMapping/>
  </p:clrMapOvr>
  <p:transition spd="med">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3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p:nvCxnSpPr>
        <p:spPr bwMode="auto">
          <a:xfrm>
            <a:off x="457200" y="6302832"/>
            <a:ext cx="8229600" cy="0"/>
          </a:xfrm>
          <a:prstGeom prst="line">
            <a:avLst/>
          </a:prstGeom>
          <a:noFill/>
          <a:ln w="9525">
            <a:solidFill>
              <a:srgbClr val="AAAAAA"/>
            </a:solidFill>
            <a:round/>
            <a:headEnd/>
            <a:tailEnd/>
          </a:ln>
        </p:spPr>
      </p:cxnSp>
      <p:pic>
        <p:nvPicPr>
          <p:cNvPr id="4" name="Picture 4" descr="http://intranet.dell.com/ds/Documents1/Dell%20Services%20Marketing%20Tool%20Kit/Logo/DELL%20Services%20Logo.png"/>
          <p:cNvPicPr>
            <a:picLocks noChangeAspect="1" noChangeArrowheads="1"/>
          </p:cNvPicPr>
          <p:nvPr userDrawn="1"/>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5" name="Straight Connector 4"/>
          <p:cNvCxnSpPr>
            <a:cxnSpLocks noChangeShapeType="1"/>
          </p:cNvCxnSpPr>
          <p:nvPr userDrawn="1"/>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1816651886"/>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1371601"/>
            <a:ext cx="7772400" cy="1470025"/>
          </a:xfrm>
        </p:spPr>
        <p:txBody>
          <a:bodyPr/>
          <a:lstStyle>
            <a:lvl1pPr>
              <a:defRPr sz="2900">
                <a:solidFill>
                  <a:schemeClr val="bg1"/>
                </a:solidFill>
              </a:defRPr>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685800" y="3200400"/>
            <a:ext cx="5181600" cy="1752600"/>
          </a:xfrm>
        </p:spPr>
        <p:txBody>
          <a:bodyPr/>
          <a:lstStyle>
            <a:lvl1pPr marL="0" indent="0">
              <a:buFontTx/>
              <a:buNone/>
              <a:defRPr sz="1600">
                <a:solidFill>
                  <a:schemeClr val="bg1"/>
                </a:solidFill>
              </a:defRPr>
            </a:lvl1pPr>
          </a:lstStyle>
          <a:p>
            <a:r>
              <a:rPr lang="en-US" smtClean="0"/>
              <a:t>Click to edit Master subtitle style</a:t>
            </a:r>
            <a:endParaRPr lang="en-US"/>
          </a:p>
        </p:txBody>
      </p:sp>
      <p:sp>
        <p:nvSpPr>
          <p:cNvPr id="7" name="Text Placeholder 6"/>
          <p:cNvSpPr>
            <a:spLocks noGrp="1"/>
          </p:cNvSpPr>
          <p:nvPr>
            <p:ph type="body" sz="quarter" idx="10"/>
          </p:nvPr>
        </p:nvSpPr>
        <p:spPr>
          <a:xfrm>
            <a:off x="6553200" y="6400800"/>
            <a:ext cx="2590800" cy="304800"/>
          </a:xfrm>
        </p:spPr>
        <p:txBody>
          <a:bodyPr/>
          <a:lstStyle>
            <a:lvl1pPr algn="r">
              <a:buNone/>
              <a:defRPr sz="1100" baseline="0">
                <a:solidFill>
                  <a:schemeClr val="bg1"/>
                </a:solidFill>
              </a:defRPr>
            </a:lvl1pPr>
            <a:lvl2pPr>
              <a:buNone/>
              <a:defRPr sz="1050"/>
            </a:lvl2pPr>
            <a:lvl3pPr>
              <a:buNone/>
              <a:defRPr sz="1000"/>
            </a:lvl3pPr>
            <a:lvl4pPr>
              <a:buNone/>
              <a:defRPr sz="900"/>
            </a:lvl4pPr>
            <a:lvl5pPr>
              <a:buNone/>
              <a:defRPr sz="900"/>
            </a:lvl5pPr>
          </a:lstStyle>
          <a:p>
            <a:pPr lvl="0"/>
            <a:r>
              <a:rPr lang="en-US" smtClean="0"/>
              <a:t>Click to edit Master text styles</a:t>
            </a:r>
          </a:p>
        </p:txBody>
      </p:sp>
    </p:spTree>
    <p:extLst>
      <p:ext uri="{BB962C8B-B14F-4D97-AF65-F5344CB8AC3E}">
        <p14:creationId xmlns:p14="http://schemas.microsoft.com/office/powerpoint/2010/main" val="11124937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cSld name="Section Title">
    <p:spTree>
      <p:nvGrpSpPr>
        <p:cNvPr id="1" name=""/>
        <p:cNvGrpSpPr/>
        <p:nvPr/>
      </p:nvGrpSpPr>
      <p:grpSpPr>
        <a:xfrm>
          <a:off x="0" y="0"/>
          <a:ext cx="0" cy="0"/>
          <a:chOff x="0" y="0"/>
          <a:chExt cx="0" cy="0"/>
        </a:xfrm>
      </p:grpSpPr>
      <p:sp>
        <p:nvSpPr>
          <p:cNvPr id="16387" name="Rectangle 3"/>
          <p:cNvSpPr>
            <a:spLocks noGrp="1" noChangeArrowheads="1"/>
          </p:cNvSpPr>
          <p:nvPr>
            <p:ph type="ctrTitle"/>
          </p:nvPr>
        </p:nvSpPr>
        <p:spPr>
          <a:xfrm>
            <a:off x="1054100" y="1841501"/>
            <a:ext cx="7772400" cy="1470025"/>
          </a:xfrm>
        </p:spPr>
        <p:txBody>
          <a:bodyPr/>
          <a:lstStyle>
            <a:lvl1pPr algn="ctr">
              <a:defRPr>
                <a:solidFill>
                  <a:schemeClr val="tx1">
                    <a:lumMod val="65000"/>
                    <a:lumOff val="35000"/>
                  </a:schemeClr>
                </a:solidFill>
              </a:defRPr>
            </a:lvl1pPr>
          </a:lstStyle>
          <a:p>
            <a:r>
              <a:rPr lang="en-US" smtClean="0"/>
              <a:t>Click to edit Master title style</a:t>
            </a:r>
            <a:endParaRPr lang="en-US" dirty="0"/>
          </a:p>
        </p:txBody>
      </p:sp>
      <p:sp>
        <p:nvSpPr>
          <p:cNvPr id="7" name="TextBox 6">
            <a:hlinkClick r:id="rId2" action="ppaction://hlinksldjump"/>
          </p:cNvPr>
          <p:cNvSpPr txBox="1"/>
          <p:nvPr userDrawn="1"/>
        </p:nvSpPr>
        <p:spPr>
          <a:xfrm>
            <a:off x="8165810" y="276453"/>
            <a:ext cx="713657" cy="307777"/>
          </a:xfrm>
          <a:prstGeom prst="rect">
            <a:avLst/>
          </a:prstGeom>
          <a:noFill/>
        </p:spPr>
        <p:txBody>
          <a:bodyPr wrap="none" rtlCol="0">
            <a:spAutoFit/>
          </a:bodyPr>
          <a:lstStyle/>
          <a:p>
            <a:r>
              <a:rPr lang="en-US" sz="1400" dirty="0">
                <a:solidFill>
                  <a:srgbClr val="444444"/>
                </a:solidFill>
                <a:latin typeface="Arial" pitchFamily="34" charset="0"/>
                <a:cs typeface="Arial" pitchFamily="34" charset="0"/>
                <a:hlinkClick r:id="rId2" action="ppaction://hlinksldjump"/>
              </a:rPr>
              <a:t>MENU</a:t>
            </a:r>
            <a:endParaRPr lang="en-US" sz="1400" dirty="0">
              <a:solidFill>
                <a:srgbClr val="444444"/>
              </a:solidFill>
              <a:latin typeface="Arial" pitchFamily="34" charset="0"/>
              <a:cs typeface="Arial" pitchFamily="34" charset="0"/>
            </a:endParaRPr>
          </a:p>
        </p:txBody>
      </p:sp>
      <p:sp>
        <p:nvSpPr>
          <p:cNvPr id="2" name="fc"/>
          <p:cNvSpPr txBox="1"/>
          <p:nvPr userDrawn="1"/>
        </p:nvSpPr>
        <p:spPr>
          <a:xfrm>
            <a:off x="0" y="6671056"/>
            <a:ext cx="9144000" cy="216982"/>
          </a:xfrm>
          <a:prstGeom prst="rect">
            <a:avLst/>
          </a:prstGeom>
          <a:noFill/>
        </p:spPr>
        <p:txBody>
          <a:bodyPr vert="horz" wrap="square" rtlCol="0">
            <a:spAutoFit/>
          </a:bodyPr>
          <a:lstStyle/>
          <a:p>
            <a:pPr marL="233363" indent="-233363" algn="ctr" fontAlgn="auto">
              <a:lnSpc>
                <a:spcPct val="90000"/>
              </a:lnSpc>
              <a:spcBef>
                <a:spcPts val="100"/>
              </a:spcBef>
              <a:spcAft>
                <a:spcPts val="100"/>
              </a:spcAft>
              <a:buClr>
                <a:srgbClr val="0085C3"/>
              </a:buClr>
              <a:buFont typeface="Arial" pitchFamily="34" charset="0"/>
              <a:buChar char="•"/>
            </a:pPr>
            <a:endParaRPr lang="en-US" sz="900" b="0" i="0" u="none" baseline="0" dirty="0" smtClean="0">
              <a:solidFill>
                <a:srgbClr val="1F497D"/>
              </a:solidFill>
              <a:latin typeface="arial unicode ms"/>
            </a:endParaRPr>
          </a:p>
        </p:txBody>
      </p:sp>
    </p:spTree>
    <p:extLst>
      <p:ext uri="{BB962C8B-B14F-4D97-AF65-F5344CB8AC3E}">
        <p14:creationId xmlns:p14="http://schemas.microsoft.com/office/powerpoint/2010/main" val="29010554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4" name="Slide Number Placeholder 5"/>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EE11D2A6-C74F-4C05-99E3-CEE093BB56EF}"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3879281381"/>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990602"/>
            <a:ext cx="4040188" cy="914399"/>
          </a:xfrm>
        </p:spPr>
        <p:txBody>
          <a:bodyPr anchor="b">
            <a:noAutofit/>
          </a:bodyPr>
          <a:lstStyle>
            <a:lvl1pPr marL="0" indent="0">
              <a:buNone/>
              <a:defRPr sz="28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8202" y="990600"/>
            <a:ext cx="4041775" cy="914400"/>
          </a:xfrm>
        </p:spPr>
        <p:txBody>
          <a:bodyPr anchor="b">
            <a:noAutofit/>
          </a:bodyPr>
          <a:lstStyle>
            <a:lvl1pPr marL="0" indent="0">
              <a:buNone/>
              <a:defRPr sz="28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7" y="1905000"/>
            <a:ext cx="4041775" cy="4221163"/>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13086766"/>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a:prstGeom prst="rect">
            <a:avLst/>
          </a:prstGeo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6809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838201"/>
            <a:ext cx="4038600" cy="5287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838201"/>
            <a:ext cx="4038600" cy="5287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5" name="Slide Number Placeholder 6"/>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C0382CA2-DA0B-400B-A9A2-D907B36025E0}"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4002661429"/>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838201"/>
            <a:ext cx="4040188" cy="5334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371601"/>
            <a:ext cx="4040188" cy="47545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838201"/>
            <a:ext cx="4041775" cy="5334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1371601"/>
            <a:ext cx="4041775" cy="47545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7" name="Slide Number Placeholder 8"/>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85C37DB6-3523-466D-A0EA-655224E60355}"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3223850797"/>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685801"/>
            <a:ext cx="5111750" cy="5440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81002" y="9906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8"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5" name="Slide Number Placeholder 6"/>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12454DCD-AFB0-47F3-BDB5-4F8ADD78BB48}"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1123540747"/>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088" y="2679194"/>
            <a:ext cx="8750744" cy="1663319"/>
          </a:xfrm>
          <a:prstGeom prst="rect">
            <a:avLst/>
          </a:prstGeom>
        </p:spPr>
        <p:txBody>
          <a:bodyPr anchor="t">
            <a:normAutofit/>
          </a:bodyPr>
          <a:lstStyle>
            <a:lvl1pPr algn="ctr">
              <a:defRPr lang="en-US" sz="2800" dirty="0">
                <a:solidFill>
                  <a:schemeClr val="tx1">
                    <a:lumMod val="65000"/>
                    <a:lumOff val="35000"/>
                  </a:schemeClr>
                </a:solidFill>
                <a:latin typeface="Verdana"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45865854"/>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14400"/>
            <a:ext cx="4038600" cy="5029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14400"/>
            <a:ext cx="4038600" cy="5029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1"/>
          <p:cNvSpPr>
            <a:spLocks noGrp="1"/>
          </p:cNvSpPr>
          <p:nvPr>
            <p:ph type="title"/>
          </p:nvPr>
        </p:nvSpPr>
        <p:spPr>
          <a:xfrm>
            <a:off x="204788" y="109539"/>
            <a:ext cx="7605712" cy="5334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26350778"/>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40" y="6431530"/>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5AC5524E-9356-4341-ADF3-CFCC2A90BCDF}"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042020486"/>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userDrawn="1"/>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userDrawn="1"/>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3245364944"/>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57200" y="2679490"/>
            <a:ext cx="5962650" cy="1006685"/>
          </a:xfrm>
        </p:spPr>
        <p:txBody>
          <a:bodyPr anchor="b" anchorCtr="0"/>
          <a:lstStyle>
            <a:lvl1pPr algn="l">
              <a:lnSpc>
                <a:spcPts val="4000"/>
              </a:lnSpc>
              <a:defRPr sz="3600" b="0" i="0" smtClean="0">
                <a:solidFill>
                  <a:schemeClr val="accent1"/>
                </a:solidFill>
                <a:latin typeface="Museo Sans For Dell" panose="02000000000000000000" pitchFamily="2" charset="0"/>
                <a:ea typeface="Museo Sans For Dell" panose="02000000000000000000" pitchFamily="2" charset="0"/>
              </a:defRPr>
            </a:lvl1pPr>
          </a:lstStyle>
          <a:p>
            <a:r>
              <a:rPr lang="en-US" dirty="0" smtClean="0"/>
              <a:t>Click to edit Master title style</a:t>
            </a:r>
          </a:p>
        </p:txBody>
      </p:sp>
      <p:sp>
        <p:nvSpPr>
          <p:cNvPr id="361477" name="Text Placeholder 12"/>
          <p:cNvSpPr>
            <a:spLocks noGrp="1"/>
          </p:cNvSpPr>
          <p:nvPr>
            <p:ph type="subTitle" idx="1"/>
          </p:nvPr>
        </p:nvSpPr>
        <p:spPr>
          <a:xfrm>
            <a:off x="457200" y="4165390"/>
            <a:ext cx="5953125" cy="800101"/>
          </a:xfrm>
        </p:spPr>
        <p:txBody>
          <a:bodyPr lIns="0" tIns="0" rIns="0" bIns="0" anchor="t" anchorCtr="0">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en-US" smtClean="0"/>
              <a:t>Click to edit Master subtitle style</a:t>
            </a:r>
            <a:endParaRPr lang="en-US" dirty="0" smtClean="0"/>
          </a:p>
        </p:txBody>
      </p:sp>
      <p:cxnSp>
        <p:nvCxnSpPr>
          <p:cNvPr id="8" name="Straight Connector 7"/>
          <p:cNvCxnSpPr/>
          <p:nvPr/>
        </p:nvCxnSpPr>
        <p:spPr>
          <a:xfrm>
            <a:off x="447675" y="178117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507682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0" y="6362700"/>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0" y="6362700"/>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0" y="6362700"/>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44444"/>
              </a:solidFill>
              <a:latin typeface="Trebuchet MS" pitchFamily="34" charset="0"/>
            </a:endParaRPr>
          </a:p>
        </p:txBody>
      </p:sp>
      <p:pic>
        <p:nvPicPr>
          <p:cNvPr id="11" name="Picture 10" descr="dell_blue_lrg_logo.png"/>
          <p:cNvPicPr>
            <a:picLocks noChangeAspect="1"/>
          </p:cNvPicPr>
          <p:nvPr userDrawn="1"/>
        </p:nvPicPr>
        <p:blipFill>
          <a:blip r:embed="rId2" cstate="screen"/>
          <a:stretch>
            <a:fillRect/>
          </a:stretch>
        </p:blipFill>
        <p:spPr>
          <a:xfrm>
            <a:off x="7265289" y="2651760"/>
            <a:ext cx="1487427" cy="1487427"/>
          </a:xfrm>
          <a:prstGeom prst="rect">
            <a:avLst/>
          </a:prstGeom>
        </p:spPr>
      </p:pic>
    </p:spTree>
    <p:extLst>
      <p:ext uri="{BB962C8B-B14F-4D97-AF65-F5344CB8AC3E}">
        <p14:creationId xmlns:p14="http://schemas.microsoft.com/office/powerpoint/2010/main" val="398761545"/>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61562"/>
            <a:ext cx="8239126" cy="853560"/>
          </a:xfrm>
        </p:spPr>
        <p:txBody>
          <a:bodyPr wrap="square" anchor="t"/>
          <a:lstStyle>
            <a:lvl1pPr>
              <a:lnSpc>
                <a:spcPct val="90000"/>
              </a:lnSpc>
              <a:defRPr sz="3200" b="0">
                <a:solidFill>
                  <a:schemeClr val="accent1"/>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57200" y="1280160"/>
            <a:ext cx="8229600" cy="475488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20" name="Straight Connector 19"/>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5"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6"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8"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A5ED237-BA49-494A-B3B3-DDC72CDA5986}"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513435367"/>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41424"/>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41425"/>
            <a:ext cx="4023360" cy="4890434"/>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5" name="Title 1"/>
          <p:cNvSpPr>
            <a:spLocks noGrp="1"/>
          </p:cNvSpPr>
          <p:nvPr>
            <p:ph type="title" hasCustomPrompt="1"/>
          </p:nvPr>
        </p:nvSpPr>
        <p:spPr>
          <a:xfrm>
            <a:off x="425904" y="261562"/>
            <a:ext cx="8239126" cy="853560"/>
          </a:xfrm>
        </p:spPr>
        <p:txBody>
          <a:bodyPr wrap="square" anchor="t"/>
          <a:lstStyle>
            <a:lvl1pPr>
              <a:lnSpc>
                <a:spcPct val="90000"/>
              </a:lnSpc>
              <a:defRPr sz="3200" b="0">
                <a:solidFill>
                  <a:schemeClr val="accent1"/>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A1BD0CCE-4CF1-4416-AC93-D16C31AA61FF}"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667525411"/>
      </p:ext>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Dell Blu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21"/>
          <p:cNvSpPr>
            <a:spLocks noGrp="1"/>
          </p:cNvSpPr>
          <p:nvPr>
            <p:ph type="ctrTitle" hasCustomPrompt="1"/>
          </p:nvPr>
        </p:nvSpPr>
        <p:spPr>
          <a:xfrm>
            <a:off x="353343" y="367681"/>
            <a:ext cx="5200791" cy="2036852"/>
          </a:xfrm>
        </p:spPr>
        <p:txBody>
          <a:bodyPr wrap="square" anchor="t" anchorCtr="0">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6" name="Text Placeholder 12"/>
          <p:cNvSpPr>
            <a:spLocks noGrp="1"/>
          </p:cNvSpPr>
          <p:nvPr>
            <p:ph type="subTitle" idx="1"/>
          </p:nvPr>
        </p:nvSpPr>
        <p:spPr>
          <a:xfrm>
            <a:off x="353343" y="2517418"/>
            <a:ext cx="5200791" cy="276999"/>
          </a:xfrm>
        </p:spPr>
        <p:txBody>
          <a:bodyPr wrap="square" lIns="0" tIns="0" rIns="0" bIns="0" anchor="t" anchorCtr="0">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pic>
        <p:nvPicPr>
          <p:cNvPr id="8" name="Picture 7" descr="white"/>
          <p:cNvPicPr>
            <a:picLocks noChangeAspect="1" noChangeArrowheads="1"/>
          </p:cNvPicPr>
          <p:nvPr userDrawn="1"/>
        </p:nvPicPr>
        <p:blipFill>
          <a:blip r:embed="rId3" cstate="screen"/>
          <a:srcRect/>
          <a:stretch>
            <a:fillRect/>
          </a:stretch>
        </p:blipFill>
        <p:spPr bwMode="black">
          <a:xfrm>
            <a:off x="7838326" y="5550254"/>
            <a:ext cx="1023494" cy="1023494"/>
          </a:xfrm>
          <a:prstGeom prst="rect">
            <a:avLst/>
          </a:prstGeom>
          <a:noFill/>
          <a:ln w="9525">
            <a:noFill/>
            <a:miter lim="800000"/>
            <a:headEnd/>
            <a:tailEnd/>
          </a:ln>
        </p:spPr>
      </p:pic>
      <p:sp>
        <p:nvSpPr>
          <p:cNvPr id="7" name="TextBox 6"/>
          <p:cNvSpPr txBox="1"/>
          <p:nvPr userDrawn="1"/>
        </p:nvSpPr>
        <p:spPr>
          <a:xfrm>
            <a:off x="6246923" y="593909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2448856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37786"/>
            <a:ext cx="4023360" cy="2888166"/>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37786"/>
            <a:ext cx="4023360" cy="2888166"/>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4" name="Content Placeholder 3"/>
          <p:cNvSpPr>
            <a:spLocks noGrp="1"/>
          </p:cNvSpPr>
          <p:nvPr>
            <p:ph sz="quarter" idx="12"/>
          </p:nvPr>
        </p:nvSpPr>
        <p:spPr>
          <a:xfrm>
            <a:off x="434975" y="4270916"/>
            <a:ext cx="8262938" cy="18949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title" hasCustomPrompt="1"/>
          </p:nvPr>
        </p:nvSpPr>
        <p:spPr>
          <a:xfrm>
            <a:off x="425904" y="261562"/>
            <a:ext cx="8239126" cy="853560"/>
          </a:xfrm>
        </p:spPr>
        <p:txBody>
          <a:bodyPr wrap="square" anchor="t"/>
          <a:lstStyle>
            <a:lvl1pPr>
              <a:lnSpc>
                <a:spcPct val="90000"/>
              </a:lnSpc>
              <a:defRPr sz="3200" b="0">
                <a:solidFill>
                  <a:schemeClr val="accent1"/>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718DB286-FF79-4BB2-AAE8-04B104D0A731}"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433756502"/>
      </p:ext>
    </p:extLst>
  </p:cSld>
  <p:clrMapOvr>
    <a:masterClrMapping/>
  </p:clrMapOvr>
  <p:transition spd="med">
    <p:wipe dir="r"/>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38" y="6431528"/>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261562"/>
            <a:ext cx="8239126" cy="853560"/>
          </a:xfrm>
        </p:spPr>
        <p:txBody>
          <a:bodyPr wrap="square" anchor="t"/>
          <a:lstStyle>
            <a:lvl1pPr>
              <a:lnSpc>
                <a:spcPct val="90000"/>
              </a:lnSpc>
              <a:defRPr sz="3200" b="0">
                <a:solidFill>
                  <a:schemeClr val="accent1"/>
                </a:solidFill>
                <a:latin typeface="+mn-lt"/>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EC21B2A-3096-494E-9123-2989D3AEA588}"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925655901"/>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8"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630BBFFE-C5E9-46F1-9426-174141C09A9C}"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688458354"/>
      </p:ext>
    </p:extLst>
  </p:cSld>
  <p:clrMapOvr>
    <a:masterClrMapping/>
  </p:clrMapOvr>
  <p:transition spd="med">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9"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5EC22BE8-83F9-4C18-8DAB-5390261EDED8}"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643946786"/>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72DF531-3468-4E88-943B-AD2ADAEBFE57}"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554871736"/>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2E81D4E3-FF1C-447C-90A3-895A8C5392F1}"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146790511"/>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Sans For Dell" panose="02000000000000000000"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F957C7E-C7E7-40ED-8DBB-CAEED742A383}"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014089542"/>
      </p:ext>
    </p:extLst>
  </p:cSld>
  <p:clrMapOvr>
    <a:masterClrMapping/>
  </p:clrMapOvr>
  <p:transition spd="med">
    <p:wipe dir="r"/>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457200"/>
            <a:ext cx="3657600" cy="36576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3200" b="0">
                <a:solidFill>
                  <a:schemeClr val="tx2"/>
                </a:solidFill>
                <a:latin typeface="Museo Sans For Dell" panose="02000000000000000000" pitchFamily="2" charset="0"/>
              </a:defRPr>
            </a:lvl1p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0" y="6428232"/>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3ABA7141-3D1C-4B71-8E8A-1A5A719C17C1}"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4189310431"/>
      </p:ext>
    </p:extLst>
  </p:cSld>
  <p:clrMapOvr>
    <a:masterClrMapping/>
  </p:clrMapOvr>
  <p:transition spd="med">
    <p:wipe dir="r"/>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76200" y="76200"/>
            <a:ext cx="8229600" cy="685800"/>
          </a:xfrm>
        </p:spPr>
        <p:txBody>
          <a:bodyPr/>
          <a:lstStyle>
            <a:lvl1pPr>
              <a:defRPr>
                <a:latin typeface="Museo Sans For Dell" panose="02000000000000000000" pitchFamily="2"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06084846"/>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 y="76200"/>
            <a:ext cx="8229600" cy="762000"/>
          </a:xfrm>
        </p:spPr>
        <p:txBody>
          <a:bodyPr/>
          <a:lstStyle>
            <a:lvl1pPr>
              <a:defRPr>
                <a:solidFill>
                  <a:schemeClr val="tx1">
                    <a:lumMod val="65000"/>
                    <a:lumOff val="35000"/>
                  </a:schemeClr>
                </a:solidFill>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914400"/>
            <a:ext cx="4038600" cy="5211763"/>
          </a:xfrm>
        </p:spPr>
        <p:txBody>
          <a:bodyPr/>
          <a:lstStyle>
            <a:lvl1pPr>
              <a:defRPr sz="2000">
                <a:solidFill>
                  <a:schemeClr val="tx1">
                    <a:lumMod val="65000"/>
                    <a:lumOff val="35000"/>
                  </a:schemeClr>
                </a:solidFill>
                <a:latin typeface="Calibri" pitchFamily="34" charset="0"/>
              </a:defRPr>
            </a:lvl1pPr>
            <a:lvl2pPr>
              <a:defRPr sz="1800">
                <a:solidFill>
                  <a:schemeClr val="tx1">
                    <a:lumMod val="65000"/>
                    <a:lumOff val="35000"/>
                  </a:schemeClr>
                </a:solidFill>
                <a:latin typeface="Calibri" pitchFamily="34" charset="0"/>
              </a:defRPr>
            </a:lvl2pPr>
            <a:lvl3pPr>
              <a:defRPr sz="1600">
                <a:solidFill>
                  <a:schemeClr val="tx1">
                    <a:lumMod val="65000"/>
                    <a:lumOff val="35000"/>
                  </a:schemeClr>
                </a:solidFill>
                <a:latin typeface="Calibri" pitchFamily="34" charset="0"/>
              </a:defRPr>
            </a:lvl3pPr>
            <a:lvl4pPr>
              <a:defRPr sz="1400">
                <a:solidFill>
                  <a:schemeClr val="tx1">
                    <a:lumMod val="65000"/>
                    <a:lumOff val="35000"/>
                  </a:schemeClr>
                </a:solidFill>
                <a:latin typeface="Calibri" pitchFamily="34" charset="0"/>
              </a:defRPr>
            </a:lvl4pPr>
            <a:lvl5pPr>
              <a:defRPr sz="1200">
                <a:solidFill>
                  <a:schemeClr val="tx1">
                    <a:lumMod val="65000"/>
                    <a:lumOff val="35000"/>
                  </a:schemeClr>
                </a:solidFill>
                <a:latin typeface="Calibri"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914400"/>
            <a:ext cx="4038600" cy="5211763"/>
          </a:xfrm>
        </p:spPr>
        <p:txBody>
          <a:bodyPr/>
          <a:lstStyle>
            <a:lvl1pPr>
              <a:defRPr sz="2000">
                <a:solidFill>
                  <a:schemeClr val="tx1">
                    <a:lumMod val="65000"/>
                    <a:lumOff val="35000"/>
                  </a:schemeClr>
                </a:solidFill>
                <a:latin typeface="Calibri" pitchFamily="34" charset="0"/>
              </a:defRPr>
            </a:lvl1pPr>
            <a:lvl2pPr>
              <a:defRPr sz="1800">
                <a:solidFill>
                  <a:schemeClr val="tx1">
                    <a:lumMod val="65000"/>
                    <a:lumOff val="35000"/>
                  </a:schemeClr>
                </a:solidFill>
                <a:latin typeface="Calibri" pitchFamily="34" charset="0"/>
              </a:defRPr>
            </a:lvl2pPr>
            <a:lvl3pPr>
              <a:defRPr sz="1600">
                <a:solidFill>
                  <a:schemeClr val="tx1">
                    <a:lumMod val="65000"/>
                    <a:lumOff val="35000"/>
                  </a:schemeClr>
                </a:solidFill>
                <a:latin typeface="Calibri" pitchFamily="34" charset="0"/>
              </a:defRPr>
            </a:lvl3pPr>
            <a:lvl4pPr>
              <a:defRPr sz="1400">
                <a:solidFill>
                  <a:schemeClr val="tx1">
                    <a:lumMod val="65000"/>
                    <a:lumOff val="35000"/>
                  </a:schemeClr>
                </a:solidFill>
                <a:latin typeface="Calibri" pitchFamily="34" charset="0"/>
              </a:defRPr>
            </a:lvl4pPr>
            <a:lvl5pPr>
              <a:defRPr sz="1200">
                <a:solidFill>
                  <a:schemeClr val="tx1">
                    <a:lumMod val="65000"/>
                    <a:lumOff val="35000"/>
                  </a:schemeClr>
                </a:solidFill>
                <a:latin typeface="Calibri"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50266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Dell Blue background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2" y="370595"/>
            <a:ext cx="7955280" cy="332399"/>
          </a:xfrm>
        </p:spPr>
        <p:txBody>
          <a:bodyPr/>
          <a:lstStyle/>
          <a:p>
            <a:r>
              <a:rPr lang="en-US" dirty="0" smtClean="0"/>
              <a:t>Click to edit content page title</a:t>
            </a:r>
            <a:endParaRPr lang="en-US" dirty="0"/>
          </a:p>
        </p:txBody>
      </p:sp>
      <p:sp>
        <p:nvSpPr>
          <p:cNvPr id="5" name="Text Placeholder 12"/>
          <p:cNvSpPr>
            <a:spLocks noGrp="1"/>
          </p:cNvSpPr>
          <p:nvPr>
            <p:ph idx="1"/>
          </p:nvPr>
        </p:nvSpPr>
        <p:spPr bwMode="auto">
          <a:xfrm>
            <a:off x="367606" y="1706880"/>
            <a:ext cx="7955280"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nSpc>
                <a:spcPct val="100000"/>
              </a:lnSpc>
              <a:defRPr/>
            </a:lvl1pPr>
            <a:lvl2pPr>
              <a:lnSpc>
                <a:spcPct val="100000"/>
              </a:lnSpc>
              <a:defRPr/>
            </a:lvl2pPr>
            <a:lvl3pPr>
              <a:lnSpc>
                <a:spcPct val="100000"/>
              </a:lnSpc>
              <a:defRPr/>
            </a:lvl3pPr>
          </a:lstStyle>
          <a:p>
            <a:pPr lvl="0"/>
            <a:r>
              <a:rPr lang="en-US" dirty="0" smtClean="0"/>
              <a:t>Click to edit title</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88211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_and_Content_Blue_Background">
    <p:spTree>
      <p:nvGrpSpPr>
        <p:cNvPr id="1" name=""/>
        <p:cNvGrpSpPr/>
        <p:nvPr/>
      </p:nvGrpSpPr>
      <p:grpSpPr>
        <a:xfrm>
          <a:off x="0" y="0"/>
          <a:ext cx="0" cy="0"/>
          <a:chOff x="0" y="0"/>
          <a:chExt cx="0" cy="0"/>
        </a:xfrm>
      </p:grpSpPr>
      <p:sp>
        <p:nvSpPr>
          <p:cNvPr id="2" name="Title 1"/>
          <p:cNvSpPr>
            <a:spLocks noGrp="1"/>
          </p:cNvSpPr>
          <p:nvPr>
            <p:ph type="title"/>
          </p:nvPr>
        </p:nvSpPr>
        <p:spPr>
          <a:xfrm>
            <a:off x="447675" y="38100"/>
            <a:ext cx="8239126" cy="960120"/>
          </a:xfrm>
        </p:spPr>
        <p:txBody>
          <a:bodyPr wrap="square" anchor="b"/>
          <a:lstStyle>
            <a:lvl1pPr>
              <a:lnSpc>
                <a:spcPct val="90000"/>
              </a:lnSpc>
              <a:defRPr sz="3000" b="0">
                <a:solidFill>
                  <a:schemeClr val="tx2"/>
                </a:solidFill>
                <a:latin typeface="Museo For Dell" pitchFamily="2"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447675" y="1310640"/>
            <a:ext cx="8229600" cy="1712264"/>
          </a:xfrm>
        </p:spPr>
        <p:txBody>
          <a:bodyPr lIns="0" tIns="0" rIns="0" bIns="0"/>
          <a:lstStyle>
            <a:lvl1pPr>
              <a:spcBef>
                <a:spcPts val="1600"/>
              </a:spcBef>
              <a:buClr>
                <a:schemeClr val="tx2"/>
              </a:buClr>
              <a:defRPr sz="2200">
                <a:solidFill>
                  <a:schemeClr val="tx2"/>
                </a:solidFill>
                <a:latin typeface="Museo Sans For Dell" pitchFamily="2" charset="0"/>
              </a:defRPr>
            </a:lvl1pPr>
            <a:lvl2pPr>
              <a:spcBef>
                <a:spcPts val="800"/>
              </a:spcBef>
              <a:buClr>
                <a:schemeClr val="tx2"/>
              </a:buClr>
              <a:buFont typeface="Museo For Dell 300" pitchFamily="50" charset="0"/>
              <a:buChar char="–"/>
              <a:defRPr sz="1800">
                <a:solidFill>
                  <a:schemeClr val="tx2"/>
                </a:solidFill>
                <a:latin typeface="Museo Sans For Dell" pitchFamily="2" charset="0"/>
              </a:defRPr>
            </a:lvl2pPr>
            <a:lvl3pPr>
              <a:spcBef>
                <a:spcPts val="800"/>
              </a:spcBef>
              <a:buClr>
                <a:schemeClr val="tx2"/>
              </a:buClr>
              <a:defRPr sz="1800">
                <a:solidFill>
                  <a:schemeClr val="tx2"/>
                </a:solidFill>
                <a:latin typeface="Museo Sans For Dell" pitchFamily="2" charset="0"/>
              </a:defRPr>
            </a:lvl3pPr>
            <a:lvl4pPr>
              <a:spcBef>
                <a:spcPts val="800"/>
              </a:spcBef>
              <a:buClr>
                <a:schemeClr val="tx2"/>
              </a:buClr>
              <a:defRPr sz="1800">
                <a:solidFill>
                  <a:schemeClr val="tx2"/>
                </a:solidFill>
                <a:latin typeface="Museo Sans For Dell" pitchFamily="2" charset="0"/>
              </a:defRPr>
            </a:lvl4pPr>
            <a:lvl5pPr>
              <a:spcBef>
                <a:spcPts val="800"/>
              </a:spcBef>
              <a:buClr>
                <a:schemeClr val="tx2"/>
              </a:buClr>
              <a:defRPr sz="1800">
                <a:solidFill>
                  <a:schemeClr val="tx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0" name="Straight Connector 19"/>
          <p:cNvCxnSpPr>
            <a:cxnSpLocks noChangeShapeType="1"/>
          </p:cNvCxnSpPr>
          <p:nvPr userDrawn="1"/>
        </p:nvCxnSpPr>
        <p:spPr bwMode="auto">
          <a:xfrm>
            <a:off x="457200" y="6172200"/>
            <a:ext cx="8229600" cy="0"/>
          </a:xfrm>
          <a:prstGeom prst="line">
            <a:avLst/>
          </a:prstGeom>
          <a:noFill/>
          <a:ln w="9525">
            <a:solidFill>
              <a:schemeClr val="tx2"/>
            </a:solidFill>
            <a:round/>
            <a:headEnd/>
            <a:tailEnd/>
          </a:ln>
        </p:spPr>
      </p:cxnSp>
      <p:sp>
        <p:nvSpPr>
          <p:cNvPr id="14" name="Slide Number Placeholder 5"/>
          <p:cNvSpPr>
            <a:spLocks noGrp="1"/>
          </p:cNvSpPr>
          <p:nvPr>
            <p:ph type="sldNum" sz="quarter" idx="4"/>
          </p:nvPr>
        </p:nvSpPr>
        <p:spPr>
          <a:xfrm>
            <a:off x="439740" y="6431530"/>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5"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Tree>
    <p:extLst>
      <p:ext uri="{BB962C8B-B14F-4D97-AF65-F5344CB8AC3E}">
        <p14:creationId xmlns:p14="http://schemas.microsoft.com/office/powerpoint/2010/main" val="2057207568"/>
      </p:ext>
    </p:extLst>
  </p:cSld>
  <p:clrMapOvr>
    <a:masterClrMapping/>
  </p:clrMapOvr>
  <p:transition spd="med">
    <p:wipe dir="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4" name="Slide Number Placeholder 3"/>
          <p:cNvSpPr>
            <a:spLocks noGrp="1"/>
          </p:cNvSpPr>
          <p:nvPr>
            <p:ph type="sldNum" sz="quarter" idx="11"/>
          </p:nvPr>
        </p:nvSpPr>
        <p:spPr/>
        <p:txBody>
          <a:body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5" name="Date Placeholder 4"/>
          <p:cNvSpPr>
            <a:spLocks noGrp="1"/>
          </p:cNvSpPr>
          <p:nvPr>
            <p:ph type="dt" sz="half" idx="12"/>
          </p:nvPr>
        </p:nvSpPr>
        <p:spPr/>
        <p:txBody>
          <a:bodyPr/>
          <a:lstStyle/>
          <a:p>
            <a:fld id="{496D0BA0-97A1-4BC8-8CF3-B745440C6559}" type="datetime1">
              <a:rPr lang="en-US">
                <a:solidFill>
                  <a:srgbClr val="000000">
                    <a:lumMod val="60000"/>
                    <a:lumOff val="40000"/>
                  </a:srgbClr>
                </a:solidFill>
              </a:rPr>
              <a:pPr/>
              <a:t>10/22/2014</a:t>
            </a:fld>
            <a:endParaRPr dirty="0">
              <a:solidFill>
                <a:srgbClr val="000000">
                  <a:lumMod val="60000"/>
                  <a:lumOff val="40000"/>
                </a:srgbClr>
              </a:solidFill>
            </a:endParaRP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5183" r="22572"/>
          <a:stretch/>
        </p:blipFill>
        <p:spPr>
          <a:xfrm>
            <a:off x="3746500" y="0"/>
            <a:ext cx="5397500" cy="6858000"/>
          </a:xfrm>
          <a:prstGeom prst="rect">
            <a:avLst/>
          </a:prstGeom>
        </p:spPr>
      </p:pic>
      <p:cxnSp>
        <p:nvCxnSpPr>
          <p:cNvPr id="7" name="Straight Connector 6"/>
          <p:cNvCxnSpPr>
            <a:cxnSpLocks noChangeShapeType="1"/>
          </p:cNvCxnSpPr>
          <p:nvPr userDrawn="1"/>
        </p:nvCxnSpPr>
        <p:spPr bwMode="auto">
          <a:xfrm>
            <a:off x="457200" y="6172200"/>
            <a:ext cx="8229600" cy="0"/>
          </a:xfrm>
          <a:prstGeom prst="line">
            <a:avLst/>
          </a:prstGeom>
          <a:noFill/>
          <a:ln w="9525">
            <a:solidFill>
              <a:srgbClr val="AAAAAA"/>
            </a:solidFill>
            <a:round/>
            <a:headEnd/>
            <a:tailEnd/>
          </a:ln>
        </p:spPr>
      </p:cxnSp>
      <p:pic>
        <p:nvPicPr>
          <p:cNvPr id="8" name="Picture 6" descr="C:\Users\sshelley\Desktop\Dell-SecureWorks-Logo_white.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258051" y="6297867"/>
            <a:ext cx="1366345"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6546820"/>
      </p:ext>
    </p:extLst>
  </p:cSld>
  <p:clrMapOvr>
    <a:masterClrMapping/>
  </p:clrMapOvr>
  <p:transition spd="med">
    <p:wipe dir="r"/>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57200" y="2679491"/>
            <a:ext cx="5962650" cy="1006685"/>
          </a:xfrm>
        </p:spPr>
        <p:txBody>
          <a:bodyPr anchor="b" anchorCtr="0"/>
          <a:lstStyle>
            <a:lvl1pPr algn="l">
              <a:lnSpc>
                <a:spcPts val="4000"/>
              </a:lnSpc>
              <a:defRPr sz="36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57202" y="4165391"/>
            <a:ext cx="5953125" cy="800101"/>
          </a:xfrm>
        </p:spPr>
        <p:txBody>
          <a:bodyPr lIns="0" tIns="0" rIns="0" bIns="0" anchor="t" anchorCtr="0">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en-US" smtClean="0"/>
              <a:t>Click to edit Master subtitle style</a:t>
            </a:r>
            <a:endParaRPr lang="en-US" dirty="0" smtClean="0"/>
          </a:p>
        </p:txBody>
      </p:sp>
      <p:cxnSp>
        <p:nvCxnSpPr>
          <p:cNvPr id="8" name="Straight Connector 7"/>
          <p:cNvCxnSpPr/>
          <p:nvPr/>
        </p:nvCxnSpPr>
        <p:spPr>
          <a:xfrm>
            <a:off x="447675" y="178117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507682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44444"/>
              </a:solidFill>
              <a:latin typeface="Trebuchet MS" pitchFamily="34" charset="0"/>
            </a:endParaRPr>
          </a:p>
        </p:txBody>
      </p:sp>
      <p:sp>
        <p:nvSpPr>
          <p:cNvPr id="14" name="Rectangle 13"/>
          <p:cNvSpPr/>
          <p:nvPr/>
        </p:nvSpPr>
        <p:spPr bwMode="hidden">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44444"/>
              </a:solidFill>
              <a:latin typeface="Trebuchet MS" pitchFamily="34" charset="0"/>
            </a:endParaRPr>
          </a:p>
        </p:txBody>
      </p:sp>
      <p:sp>
        <p:nvSpPr>
          <p:cNvPr id="19" name="Rectangle 18"/>
          <p:cNvSpPr/>
          <p:nvPr/>
        </p:nvSpPr>
        <p:spPr bwMode="hidden">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444444"/>
              </a:solidFill>
              <a:latin typeface="Trebuchet MS" pitchFamily="34" charset="0"/>
            </a:endParaRPr>
          </a:p>
        </p:txBody>
      </p:sp>
      <p:pic>
        <p:nvPicPr>
          <p:cNvPr id="11" name="Picture 10" descr="dell_blue_lrg_logo.png"/>
          <p:cNvPicPr>
            <a:picLocks noChangeAspect="1"/>
          </p:cNvPicPr>
          <p:nvPr/>
        </p:nvPicPr>
        <p:blipFill>
          <a:blip r:embed="rId2" cstate="screen"/>
          <a:stretch>
            <a:fillRect/>
          </a:stretch>
        </p:blipFill>
        <p:spPr>
          <a:xfrm>
            <a:off x="7265291" y="2651761"/>
            <a:ext cx="1487427" cy="1487427"/>
          </a:xfrm>
          <a:prstGeom prst="rect">
            <a:avLst/>
          </a:prstGeom>
        </p:spPr>
      </p:pic>
    </p:spTree>
    <p:extLst>
      <p:ext uri="{BB962C8B-B14F-4D97-AF65-F5344CB8AC3E}">
        <p14:creationId xmlns:p14="http://schemas.microsoft.com/office/powerpoint/2010/main" val="1413978593"/>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57200" y="1280160"/>
            <a:ext cx="8229600" cy="475488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0" name="Straight Connector 19"/>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5"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6"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8"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BB6F54E-3946-4129-BAF5-9930C0443DDF}"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575652467"/>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41425"/>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41425"/>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5"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9BF82140-CD70-4479-941C-C840EE68730B}"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279388795"/>
      </p:ext>
    </p:extLst>
  </p:cSld>
  <p:clrMapOvr>
    <a:masterClrMapping/>
  </p:clrMapOvr>
  <p:transition spd="med">
    <p:wipe dir="r"/>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37786"/>
            <a:ext cx="4023360" cy="2888167"/>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37786"/>
            <a:ext cx="4023360" cy="2888167"/>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4" name="Content Placeholder 3"/>
          <p:cNvSpPr>
            <a:spLocks noGrp="1"/>
          </p:cNvSpPr>
          <p:nvPr>
            <p:ph sz="quarter" idx="12"/>
          </p:nvPr>
        </p:nvSpPr>
        <p:spPr>
          <a:xfrm>
            <a:off x="434975" y="4270916"/>
            <a:ext cx="8262938" cy="18949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18E63B37-8470-4135-B242-C53F7908D5CE}"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023715563"/>
      </p:ext>
    </p:extLst>
  </p:cSld>
  <p:clrMapOvr>
    <a:masterClrMapping/>
  </p:clrMapOvr>
  <p:transition spd="med">
    <p:wipe dir="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40" y="6431530"/>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761E2762-DA28-46DA-B1AD-11E0E3328066}"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374483569"/>
      </p:ext>
    </p:extLst>
  </p:cSld>
  <p:clrMapOvr>
    <a:masterClrMapping/>
  </p:clrMapOvr>
  <p:transition spd="med">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60A00CAE-9501-4FD5-9A09-9E74239E9C83}"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780561639"/>
      </p:ext>
    </p:extLst>
  </p:cSld>
  <p:clrMapOvr>
    <a:masterClrMapping/>
  </p:clrMapOvr>
  <p:transition spd="med">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9"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49A4D60-A096-441E-A4E4-7FABA2BF6C64}"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246746781"/>
      </p:ext>
    </p:extLst>
  </p:cSld>
  <p:clrMapOvr>
    <a:masterClrMapping/>
  </p:clrMapOvr>
  <p:transition spd="med">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1C377CD9-7084-48E8-9ECA-B85CE3D96230}"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450059505"/>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Dell Blue background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2" y="370595"/>
            <a:ext cx="7955280" cy="853440"/>
          </a:xfrm>
        </p:spPr>
        <p:txBody>
          <a:bodyPr>
            <a:normAutofit/>
          </a:bodyPr>
          <a:lstStyle/>
          <a:p>
            <a:r>
              <a:rPr lang="en-US" dirty="0" smtClean="0"/>
              <a:t>Click to edit content page title</a:t>
            </a:r>
            <a:endParaRPr lang="en-US" dirty="0"/>
          </a:p>
        </p:txBody>
      </p:sp>
      <p:sp>
        <p:nvSpPr>
          <p:cNvPr id="7" name="Text Placeholder 12"/>
          <p:cNvSpPr>
            <a:spLocks noGrp="1"/>
          </p:cNvSpPr>
          <p:nvPr>
            <p:ph idx="1"/>
          </p:nvPr>
        </p:nvSpPr>
        <p:spPr bwMode="auto">
          <a:xfrm>
            <a:off x="364632" y="2072640"/>
            <a:ext cx="7955280" cy="402336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nSpc>
                <a:spcPct val="100000"/>
              </a:lnSpc>
              <a:defRPr/>
            </a:lvl1pPr>
            <a:lvl2pPr>
              <a:lnSpc>
                <a:spcPct val="100000"/>
              </a:lnSpc>
              <a:defRPr/>
            </a:lvl2pPr>
            <a:lvl3pPr>
              <a:lnSpc>
                <a:spcPct val="100000"/>
              </a:lnSpc>
              <a:defRPr/>
            </a:lvl3pPr>
          </a:lstStyle>
          <a:p>
            <a:pPr lvl="0"/>
            <a:r>
              <a:rPr lang="en-US" dirty="0" smtClean="0"/>
              <a:t>Click to edit title</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63040"/>
            <a:ext cx="79552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0343735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C9D356A1-03A8-4D9B-90C5-35D8DCB1BEF4}"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697246556"/>
      </p:ext>
    </p:extLst>
  </p:cSld>
  <p:clrMapOvr>
    <a:masterClrMapping/>
  </p:clrMapOvr>
  <p:transition spd="med">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AC43D6F-4F98-4948-B164-F6CD68DCE726}"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051367352"/>
      </p:ext>
    </p:extLst>
  </p:cSld>
  <p:clrMapOvr>
    <a:masterClrMapping/>
  </p:clrMapOvr>
  <p:transition spd="med">
    <p:wipe dir="r"/>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457200"/>
            <a:ext cx="3657600" cy="36576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3200" b="0">
                <a:solidFill>
                  <a:schemeClr val="tx2"/>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ECF06CDF-D46E-4A79-918F-4DCD1F8690D4}"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743377386"/>
      </p:ext>
    </p:extLst>
  </p:cSld>
  <p:clrMapOvr>
    <a:masterClrMapping/>
  </p:clrMapOvr>
  <p:transition spd="med">
    <p:wipe dir="r"/>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Section_Red">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457200"/>
            <a:ext cx="3657600" cy="3657600"/>
          </a:xfrm>
          <a:prstGeom prst="roundRect">
            <a:avLst>
              <a:gd name="adj" fmla="val 2752"/>
            </a:avLst>
          </a:prstGeom>
          <a:solidFill>
            <a:srgbClr val="DC5034"/>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3200" b="0">
                <a:solidFill>
                  <a:schemeClr val="tx2"/>
                </a:solidFill>
                <a:latin typeface="+mj-lt"/>
              </a:defRPr>
            </a:lvl1pPr>
          </a:lstStyle>
          <a:p>
            <a:r>
              <a:rPr lang="en-US" smtClean="0"/>
              <a:t>Click to edit Master title style</a:t>
            </a:r>
            <a:endParaRPr lang="en-US" dirty="0"/>
          </a:p>
        </p:txBody>
      </p:sp>
      <p:pic>
        <p:nvPicPr>
          <p:cNvPr id="14" name="Picture 13" descr="dell_gray_logo.png"/>
          <p:cNvPicPr>
            <a:picLocks noChangeAspect="1"/>
          </p:cNvPicPr>
          <p:nvPr/>
        </p:nvPicPr>
        <p:blipFill>
          <a:blip r:embed="rId2" cstate="print"/>
          <a:stretch>
            <a:fillRect/>
          </a:stretch>
        </p:blipFill>
        <p:spPr>
          <a:xfrm>
            <a:off x="8193026" y="6226688"/>
            <a:ext cx="573025" cy="573025"/>
          </a:xfrm>
          <a:prstGeom prst="rect">
            <a:avLst/>
          </a:prstGeom>
        </p:spPr>
      </p:pic>
      <p:sp>
        <p:nvSpPr>
          <p:cNvPr id="9" name="Slide Number Placeholder 5"/>
          <p:cNvSpPr>
            <a:spLocks noGrp="1"/>
          </p:cNvSpPr>
          <p:nvPr>
            <p:ph type="sldNum" sz="quarter" idx="4"/>
          </p:nvPr>
        </p:nvSpPr>
        <p:spPr>
          <a:xfrm>
            <a:off x="444504" y="6440495"/>
            <a:ext cx="260349" cy="152399"/>
          </a:xfrm>
          <a:prstGeom prst="rect">
            <a:avLst/>
          </a:prstGeom>
        </p:spPr>
        <p:txBody>
          <a:bodyPr vert="horz" lIns="0" tIns="0" rIns="91440" bIns="0" rtlCol="0" anchor="ctr"/>
          <a:lstStyle>
            <a:lvl1pPr algn="l">
              <a:defRPr sz="900">
                <a:solidFill>
                  <a:schemeClr val="accent4"/>
                </a:solidFill>
                <a:latin typeface="+mj-lt"/>
              </a:defRPr>
            </a:lvl1pPr>
          </a:lstStyle>
          <a:p>
            <a:fld id="{DBD5246C-868F-410A-AE52-FE248EDADC46}" type="slidenum">
              <a:rPr lang="en-US" smtClean="0">
                <a:solidFill>
                  <a:srgbClr val="DC5034"/>
                </a:solidFill>
              </a:rPr>
              <a:pPr/>
              <a:t>‹#›</a:t>
            </a:fld>
            <a:endParaRPr lang="en-US" dirty="0">
              <a:solidFill>
                <a:srgbClr val="DC5034"/>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accent4"/>
                </a:solidFill>
                <a:latin typeface="+mj-lt"/>
              </a:defRPr>
            </a:lvl1pPr>
          </a:lstStyle>
          <a:p>
            <a:r>
              <a:rPr lang="en-US" dirty="0" smtClean="0">
                <a:solidFill>
                  <a:srgbClr val="DC5034"/>
                </a:solidFill>
              </a:rPr>
              <a:t>Confidential</a:t>
            </a:r>
            <a:endParaRPr lang="en-US" dirty="0">
              <a:solidFill>
                <a:srgbClr val="DC5034"/>
              </a:solidFill>
            </a:endParaRPr>
          </a:p>
        </p:txBody>
      </p:sp>
    </p:spTree>
    <p:extLst>
      <p:ext uri="{BB962C8B-B14F-4D97-AF65-F5344CB8AC3E}">
        <p14:creationId xmlns:p14="http://schemas.microsoft.com/office/powerpoint/2010/main" val="413210903"/>
      </p:ext>
    </p:extLst>
  </p:cSld>
  <p:clrMapOvr>
    <a:masterClrMapping/>
  </p:clrMapOvr>
  <p:transition spd="med">
    <p:wipe dir="r"/>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8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3894988430"/>
      </p:ext>
    </p:extLst>
  </p:cSld>
  <p:clrMapOvr>
    <a:masterClrMapping/>
  </p:clrMapOvr>
  <p:transition spd="med">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7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2716147562"/>
      </p:ext>
    </p:extLst>
  </p:cSld>
  <p:clrMapOvr>
    <a:masterClrMapping/>
  </p:clrMapOvr>
  <p:transition spd="med">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3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p:nvCxnSpPr>
        <p:spPr bwMode="auto">
          <a:xfrm>
            <a:off x="457200" y="6302832"/>
            <a:ext cx="8229600" cy="0"/>
          </a:xfrm>
          <a:prstGeom prst="line">
            <a:avLst/>
          </a:prstGeom>
          <a:noFill/>
          <a:ln w="9525">
            <a:solidFill>
              <a:srgbClr val="AAAAAA"/>
            </a:solidFill>
            <a:round/>
            <a:headEnd/>
            <a:tailEnd/>
          </a:ln>
        </p:spPr>
      </p:cxnSp>
      <p:pic>
        <p:nvPicPr>
          <p:cNvPr id="4" name="Picture 4" descr="http://intranet.dell.com/ds/Documents1/Dell%20Services%20Marketing%20Tool%20Kit/Logo/DELL%20Services%20Logo.png"/>
          <p:cNvPicPr>
            <a:picLocks noChangeAspect="1" noChangeArrowheads="1"/>
          </p:cNvPicPr>
          <p:nvPr userDrawn="1"/>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5" name="Straight Connector 4"/>
          <p:cNvCxnSpPr>
            <a:cxnSpLocks noChangeShapeType="1"/>
          </p:cNvCxnSpPr>
          <p:nvPr userDrawn="1"/>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3487247596"/>
      </p:ext>
    </p:extLst>
  </p:cSld>
  <p:clrMapOvr>
    <a:masterClrMapping/>
  </p:clrMapOvr>
  <p:transition spd="med">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1371601"/>
            <a:ext cx="7772400" cy="1470025"/>
          </a:xfrm>
        </p:spPr>
        <p:txBody>
          <a:bodyPr/>
          <a:lstStyle>
            <a:lvl1pPr>
              <a:defRPr sz="2900">
                <a:solidFill>
                  <a:schemeClr val="bg1"/>
                </a:solidFill>
              </a:defRPr>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685800" y="3200400"/>
            <a:ext cx="5181600" cy="1752600"/>
          </a:xfrm>
        </p:spPr>
        <p:txBody>
          <a:bodyPr/>
          <a:lstStyle>
            <a:lvl1pPr marL="0" indent="0">
              <a:buFontTx/>
              <a:buNone/>
              <a:defRPr sz="1600">
                <a:solidFill>
                  <a:schemeClr val="bg1"/>
                </a:solidFill>
              </a:defRPr>
            </a:lvl1pPr>
          </a:lstStyle>
          <a:p>
            <a:r>
              <a:rPr lang="en-US" smtClean="0"/>
              <a:t>Click to edit Master subtitle style</a:t>
            </a:r>
            <a:endParaRPr lang="en-US"/>
          </a:p>
        </p:txBody>
      </p:sp>
      <p:sp>
        <p:nvSpPr>
          <p:cNvPr id="7" name="Text Placeholder 6"/>
          <p:cNvSpPr>
            <a:spLocks noGrp="1"/>
          </p:cNvSpPr>
          <p:nvPr>
            <p:ph type="body" sz="quarter" idx="10"/>
          </p:nvPr>
        </p:nvSpPr>
        <p:spPr>
          <a:xfrm>
            <a:off x="6553200" y="6400800"/>
            <a:ext cx="2590800" cy="304800"/>
          </a:xfrm>
        </p:spPr>
        <p:txBody>
          <a:bodyPr/>
          <a:lstStyle>
            <a:lvl1pPr algn="r">
              <a:buNone/>
              <a:defRPr sz="1100" baseline="0">
                <a:solidFill>
                  <a:schemeClr val="bg1"/>
                </a:solidFill>
              </a:defRPr>
            </a:lvl1pPr>
            <a:lvl2pPr>
              <a:buNone/>
              <a:defRPr sz="1050"/>
            </a:lvl2pPr>
            <a:lvl3pPr>
              <a:buNone/>
              <a:defRPr sz="1000"/>
            </a:lvl3pPr>
            <a:lvl4pPr>
              <a:buNone/>
              <a:defRPr sz="900"/>
            </a:lvl4pPr>
            <a:lvl5pPr>
              <a:buNone/>
              <a:defRPr sz="900"/>
            </a:lvl5pPr>
          </a:lstStyle>
          <a:p>
            <a:pPr lvl="0"/>
            <a:r>
              <a:rPr lang="en-US" smtClean="0"/>
              <a:t>Click to edit Master text styles</a:t>
            </a:r>
          </a:p>
        </p:txBody>
      </p:sp>
    </p:spTree>
    <p:extLst>
      <p:ext uri="{BB962C8B-B14F-4D97-AF65-F5344CB8AC3E}">
        <p14:creationId xmlns:p14="http://schemas.microsoft.com/office/powerpoint/2010/main" val="77154489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cSld name="Section Title">
    <p:spTree>
      <p:nvGrpSpPr>
        <p:cNvPr id="1" name=""/>
        <p:cNvGrpSpPr/>
        <p:nvPr/>
      </p:nvGrpSpPr>
      <p:grpSpPr>
        <a:xfrm>
          <a:off x="0" y="0"/>
          <a:ext cx="0" cy="0"/>
          <a:chOff x="0" y="0"/>
          <a:chExt cx="0" cy="0"/>
        </a:xfrm>
      </p:grpSpPr>
      <p:sp>
        <p:nvSpPr>
          <p:cNvPr id="16387" name="Rectangle 3"/>
          <p:cNvSpPr>
            <a:spLocks noGrp="1" noChangeArrowheads="1"/>
          </p:cNvSpPr>
          <p:nvPr>
            <p:ph type="ctrTitle"/>
          </p:nvPr>
        </p:nvSpPr>
        <p:spPr>
          <a:xfrm>
            <a:off x="1054100" y="1841501"/>
            <a:ext cx="7772400" cy="1470025"/>
          </a:xfrm>
        </p:spPr>
        <p:txBody>
          <a:bodyPr/>
          <a:lstStyle>
            <a:lvl1pPr algn="ctr">
              <a:defRPr>
                <a:solidFill>
                  <a:schemeClr val="tx1">
                    <a:lumMod val="65000"/>
                    <a:lumOff val="35000"/>
                  </a:schemeClr>
                </a:solidFill>
              </a:defRPr>
            </a:lvl1pPr>
          </a:lstStyle>
          <a:p>
            <a:r>
              <a:rPr lang="en-US" smtClean="0"/>
              <a:t>Click to edit Master title style</a:t>
            </a:r>
            <a:endParaRPr lang="en-US" dirty="0"/>
          </a:p>
        </p:txBody>
      </p:sp>
      <p:sp>
        <p:nvSpPr>
          <p:cNvPr id="7" name="TextBox 6">
            <a:hlinkClick r:id="rId2" action="ppaction://hlinksldjump"/>
          </p:cNvPr>
          <p:cNvSpPr txBox="1"/>
          <p:nvPr userDrawn="1"/>
        </p:nvSpPr>
        <p:spPr>
          <a:xfrm>
            <a:off x="8165810" y="276453"/>
            <a:ext cx="713657" cy="307777"/>
          </a:xfrm>
          <a:prstGeom prst="rect">
            <a:avLst/>
          </a:prstGeom>
          <a:noFill/>
        </p:spPr>
        <p:txBody>
          <a:bodyPr wrap="none" rtlCol="0">
            <a:spAutoFit/>
          </a:bodyPr>
          <a:lstStyle/>
          <a:p>
            <a:r>
              <a:rPr lang="en-US" sz="1400" dirty="0">
                <a:solidFill>
                  <a:srgbClr val="444444"/>
                </a:solidFill>
                <a:latin typeface="Arial" pitchFamily="34" charset="0"/>
                <a:cs typeface="Arial" pitchFamily="34" charset="0"/>
                <a:hlinkClick r:id="rId2" action="ppaction://hlinksldjump"/>
              </a:rPr>
              <a:t>MENU</a:t>
            </a:r>
            <a:endParaRPr lang="en-US" sz="1400" dirty="0">
              <a:solidFill>
                <a:srgbClr val="444444"/>
              </a:solidFill>
              <a:latin typeface="Arial" pitchFamily="34" charset="0"/>
              <a:cs typeface="Arial" pitchFamily="34" charset="0"/>
            </a:endParaRPr>
          </a:p>
        </p:txBody>
      </p:sp>
      <p:sp>
        <p:nvSpPr>
          <p:cNvPr id="2" name="fc"/>
          <p:cNvSpPr txBox="1"/>
          <p:nvPr userDrawn="1"/>
        </p:nvSpPr>
        <p:spPr>
          <a:xfrm>
            <a:off x="0" y="6671056"/>
            <a:ext cx="9144000" cy="216982"/>
          </a:xfrm>
          <a:prstGeom prst="rect">
            <a:avLst/>
          </a:prstGeom>
          <a:noFill/>
        </p:spPr>
        <p:txBody>
          <a:bodyPr vert="horz" wrap="square" rtlCol="0">
            <a:spAutoFit/>
          </a:bodyPr>
          <a:lstStyle/>
          <a:p>
            <a:pPr marL="233363" indent="-233363" algn="ctr" fontAlgn="auto">
              <a:lnSpc>
                <a:spcPct val="90000"/>
              </a:lnSpc>
              <a:spcBef>
                <a:spcPts val="100"/>
              </a:spcBef>
              <a:spcAft>
                <a:spcPts val="100"/>
              </a:spcAft>
              <a:buClr>
                <a:srgbClr val="0085C3"/>
              </a:buClr>
              <a:buFont typeface="Arial" pitchFamily="34" charset="0"/>
              <a:buChar char="•"/>
            </a:pPr>
            <a:endParaRPr lang="en-US" sz="900" b="0" i="0" u="none" baseline="0" dirty="0" smtClean="0">
              <a:solidFill>
                <a:srgbClr val="1F497D"/>
              </a:solidFill>
              <a:latin typeface="arial unicode ms"/>
            </a:endParaRPr>
          </a:p>
        </p:txBody>
      </p:sp>
    </p:spTree>
    <p:extLst>
      <p:ext uri="{BB962C8B-B14F-4D97-AF65-F5344CB8AC3E}">
        <p14:creationId xmlns:p14="http://schemas.microsoft.com/office/powerpoint/2010/main" val="47900383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4" name="Slide Number Placeholder 5"/>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EE11D2A6-C74F-4C05-99E3-CEE093BB56EF}"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1633497653"/>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wo column Dell Blue background ">
    <p:spTree>
      <p:nvGrpSpPr>
        <p:cNvPr id="1" name=""/>
        <p:cNvGrpSpPr/>
        <p:nvPr/>
      </p:nvGrpSpPr>
      <p:grpSpPr>
        <a:xfrm>
          <a:off x="0" y="0"/>
          <a:ext cx="0" cy="0"/>
          <a:chOff x="0" y="0"/>
          <a:chExt cx="0" cy="0"/>
        </a:xfrm>
      </p:grpSpPr>
      <p:sp>
        <p:nvSpPr>
          <p:cNvPr id="11" name="Content Placeholder 2"/>
          <p:cNvSpPr>
            <a:spLocks noGrp="1"/>
          </p:cNvSpPr>
          <p:nvPr>
            <p:ph sz="half" idx="13" hasCustomPrompt="1"/>
          </p:nvPr>
        </p:nvSpPr>
        <p:spPr>
          <a:xfrm>
            <a:off x="364632" y="1706880"/>
            <a:ext cx="3840480" cy="4267200"/>
          </a:xfrm>
        </p:spPr>
        <p:txBody>
          <a:bodyPr wrap="square" lIns="0" tIns="0" rIns="0" bIns="0">
            <a:normAutofit/>
          </a:bodyPr>
          <a:lstStyle>
            <a:lvl1pPr marL="228600" marR="0" indent="-228600" algn="l" defTabSz="914400" rtl="0" eaLnBrk="1" fontAlgn="base" latinLnBrk="0" hangingPunct="1">
              <a:lnSpc>
                <a:spcPct val="100000"/>
              </a:lnSpc>
              <a:spcBef>
                <a:spcPts val="1200"/>
              </a:spcBef>
              <a:spcAft>
                <a:spcPts val="0"/>
              </a:spcAft>
              <a:buClr>
                <a:srgbClr val="FFFFFF"/>
              </a:buClr>
              <a:buSzTx/>
              <a:buFont typeface="Arial" pitchFamily="34" charset="0"/>
              <a:buChar char="•"/>
              <a:tabLst/>
              <a:defRPr sz="2000" b="0">
                <a:solidFill>
                  <a:schemeClr val="tx2"/>
                </a:solidFill>
                <a:latin typeface="Museo Sans For Dell" pitchFamily="2" charset="0"/>
              </a:defRPr>
            </a:lvl1pPr>
            <a:lvl2pPr marL="574675" marR="0" indent="-223838" algn="l" defTabSz="914400" rtl="0" eaLnBrk="1" fontAlgn="base" latinLnBrk="0" hangingPunct="1">
              <a:lnSpc>
                <a:spcPct val="100000"/>
              </a:lnSpc>
              <a:spcBef>
                <a:spcPts val="300"/>
              </a:spcBef>
              <a:spcAft>
                <a:spcPts val="0"/>
              </a:spcAft>
              <a:buClr>
                <a:srgbClr val="FFFFFF"/>
              </a:buClr>
              <a:buSzPct val="100000"/>
              <a:buFont typeface="Museo Sans For Dell" pitchFamily="2" charset="0"/>
              <a:buChar char="–"/>
              <a:tabLst/>
              <a:defRPr sz="1800" b="0">
                <a:solidFill>
                  <a:schemeClr val="tx2"/>
                </a:solidFill>
                <a:latin typeface="Museo Sans For Dell" pitchFamily="2" charset="0"/>
              </a:defRPr>
            </a:lvl2pPr>
            <a:lvl3pPr marL="909638" marR="0" indent="-220663" algn="l" defTabSz="914400" rtl="0" eaLnBrk="1" fontAlgn="base" latinLnBrk="0" hangingPunct="1">
              <a:lnSpc>
                <a:spcPct val="100000"/>
              </a:lnSpc>
              <a:spcBef>
                <a:spcPts val="300"/>
              </a:spcBef>
              <a:spcAft>
                <a:spcPts val="0"/>
              </a:spcAft>
              <a:buClr>
                <a:srgbClr val="FFFFFF"/>
              </a:buClr>
              <a:buSzTx/>
              <a:buFont typeface="Museo Sans For Dell" pitchFamily="2" charset="0"/>
              <a:buChar char="–"/>
              <a:tabLst/>
              <a:defRPr sz="1600" b="0">
                <a:solidFill>
                  <a:schemeClr val="tx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marL="228600" marR="0" lvl="0" indent="-228600" algn="l" defTabSz="914400" rtl="0" eaLnBrk="1" fontAlgn="base" latinLnBrk="0" hangingPunct="1">
              <a:lnSpc>
                <a:spcPct val="90000"/>
              </a:lnSpc>
              <a:spcBef>
                <a:spcPts val="1200"/>
              </a:spcBef>
              <a:spcAft>
                <a:spcPts val="0"/>
              </a:spcAft>
              <a:buClr>
                <a:srgbClr val="FFFFFF"/>
              </a:buClr>
              <a:buSzTx/>
              <a:buFont typeface="Arial" pitchFamily="34" charset="0"/>
              <a:buChar char="•"/>
              <a:tabLst/>
              <a:defRPr/>
            </a:pPr>
            <a:r>
              <a:rPr kumimoji="0" lang="en-US" sz="1400" b="0" i="0" u="none" strike="noStrike" kern="0" cap="none" spc="0" normalizeH="0" baseline="0" noProof="0" dirty="0" smtClean="0">
                <a:ln>
                  <a:noFill/>
                </a:ln>
                <a:solidFill>
                  <a:srgbClr val="FFFFFF"/>
                </a:solidFill>
                <a:effectLst/>
                <a:uLnTx/>
                <a:uFillTx/>
                <a:latin typeface="Museo Sans For Dell" pitchFamily="2" charset="0"/>
              </a:rPr>
              <a:t>Click to edit title</a:t>
            </a:r>
          </a:p>
          <a:p>
            <a:pPr marL="574675" marR="0" lvl="1" indent="-223838" algn="l" defTabSz="914400" rtl="0" eaLnBrk="1" fontAlgn="base" latinLnBrk="0" hangingPunct="1">
              <a:lnSpc>
                <a:spcPct val="90000"/>
              </a:lnSpc>
              <a:spcBef>
                <a:spcPts val="300"/>
              </a:spcBef>
              <a:spcAft>
                <a:spcPts val="0"/>
              </a:spcAft>
              <a:buClr>
                <a:srgbClr val="FFFFFF"/>
              </a:buClr>
              <a:buSzPct val="100000"/>
              <a:buFont typeface="Museo Sans For Dell" pitchFamily="2" charset="0"/>
              <a:buChar char="–"/>
              <a:tabLst/>
              <a:defRPr/>
            </a:pPr>
            <a:r>
              <a:rPr kumimoji="0" lang="en-US" sz="1200" b="0" i="0" u="none" strike="noStrike" kern="0" cap="none" spc="0" normalizeH="0" baseline="0" noProof="0" dirty="0" smtClean="0">
                <a:ln>
                  <a:noFill/>
                </a:ln>
                <a:solidFill>
                  <a:srgbClr val="FFFFFF"/>
                </a:solidFill>
                <a:effectLst/>
                <a:uLnTx/>
                <a:uFillTx/>
                <a:latin typeface="Museo Sans For Dell" pitchFamily="2" charset="0"/>
              </a:rPr>
              <a:t>Second level</a:t>
            </a:r>
          </a:p>
          <a:p>
            <a:pPr marL="909638" marR="0" lvl="2" indent="-220663" algn="l" defTabSz="914400" rtl="0" eaLnBrk="1" fontAlgn="base" latinLnBrk="0" hangingPunct="1">
              <a:lnSpc>
                <a:spcPct val="90000"/>
              </a:lnSpc>
              <a:spcBef>
                <a:spcPts val="300"/>
              </a:spcBef>
              <a:spcAft>
                <a:spcPts val="0"/>
              </a:spcAft>
              <a:buClr>
                <a:srgbClr val="FFFFFF"/>
              </a:buClr>
              <a:buSzTx/>
              <a:buFont typeface="Museo Sans For Dell" pitchFamily="2" charset="0"/>
              <a:buChar char="–"/>
              <a:tabLst/>
              <a:defRPr/>
            </a:pPr>
            <a:r>
              <a:rPr kumimoji="0" lang="en-US" sz="1000" b="0" i="0" u="none" strike="noStrike" kern="0" cap="none" spc="0" normalizeH="0" baseline="0" noProof="0" dirty="0" smtClean="0">
                <a:ln>
                  <a:noFill/>
                </a:ln>
                <a:solidFill>
                  <a:srgbClr val="FFFFFF"/>
                </a:solidFill>
                <a:effectLst/>
                <a:uLnTx/>
                <a:uFillTx/>
                <a:latin typeface="Museo Sans For Dell" pitchFamily="2" charset="0"/>
              </a:rPr>
              <a:t>Third level</a:t>
            </a:r>
          </a:p>
        </p:txBody>
      </p:sp>
      <p:sp>
        <p:nvSpPr>
          <p:cNvPr id="12" name="Content Placeholder 2"/>
          <p:cNvSpPr>
            <a:spLocks noGrp="1"/>
          </p:cNvSpPr>
          <p:nvPr>
            <p:ph sz="half" idx="14" hasCustomPrompt="1"/>
          </p:nvPr>
        </p:nvSpPr>
        <p:spPr>
          <a:xfrm>
            <a:off x="4479432" y="1706880"/>
            <a:ext cx="3840480" cy="4267200"/>
          </a:xfrm>
        </p:spPr>
        <p:txBody>
          <a:bodyPr wrap="square" lIns="0" tIns="0" rIns="0" bIns="0">
            <a:normAutofit/>
          </a:bodyPr>
          <a:lstStyle>
            <a:lvl1pPr marL="228600" marR="0" indent="-228600" algn="l" defTabSz="914400" rtl="0" eaLnBrk="1" fontAlgn="base" latinLnBrk="0" hangingPunct="1">
              <a:lnSpc>
                <a:spcPct val="100000"/>
              </a:lnSpc>
              <a:spcBef>
                <a:spcPts val="1200"/>
              </a:spcBef>
              <a:spcAft>
                <a:spcPts val="0"/>
              </a:spcAft>
              <a:buClr>
                <a:srgbClr val="FFFFFF"/>
              </a:buClr>
              <a:buSzTx/>
              <a:buFont typeface="Arial" pitchFamily="34" charset="0"/>
              <a:buChar char="•"/>
              <a:tabLst/>
              <a:defRPr sz="2000" b="0">
                <a:solidFill>
                  <a:schemeClr val="tx2"/>
                </a:solidFill>
                <a:latin typeface="Museo Sans For Dell" pitchFamily="2" charset="0"/>
              </a:defRPr>
            </a:lvl1pPr>
            <a:lvl2pPr marL="574675" marR="0" indent="-223838" algn="l" defTabSz="914400" rtl="0" eaLnBrk="1" fontAlgn="base" latinLnBrk="0" hangingPunct="1">
              <a:lnSpc>
                <a:spcPct val="100000"/>
              </a:lnSpc>
              <a:spcBef>
                <a:spcPts val="300"/>
              </a:spcBef>
              <a:spcAft>
                <a:spcPts val="0"/>
              </a:spcAft>
              <a:buClr>
                <a:srgbClr val="FFFFFF"/>
              </a:buClr>
              <a:buSzPct val="100000"/>
              <a:buFont typeface="Museo Sans For Dell" pitchFamily="2" charset="0"/>
              <a:buChar char="–"/>
              <a:tabLst/>
              <a:defRPr sz="1800" b="0">
                <a:solidFill>
                  <a:schemeClr val="tx2"/>
                </a:solidFill>
                <a:latin typeface="Museo Sans For Dell" pitchFamily="2" charset="0"/>
              </a:defRPr>
            </a:lvl2pPr>
            <a:lvl3pPr marL="909638" marR="0" indent="-220663" algn="l" defTabSz="914400" rtl="0" eaLnBrk="1" fontAlgn="base" latinLnBrk="0" hangingPunct="1">
              <a:lnSpc>
                <a:spcPct val="100000"/>
              </a:lnSpc>
              <a:spcBef>
                <a:spcPts val="300"/>
              </a:spcBef>
              <a:spcAft>
                <a:spcPts val="0"/>
              </a:spcAft>
              <a:buClr>
                <a:srgbClr val="FFFFFF"/>
              </a:buClr>
              <a:buSzTx/>
              <a:buFont typeface="Museo Sans For Dell" pitchFamily="2" charset="0"/>
              <a:buChar char="–"/>
              <a:tabLst/>
              <a:defRPr sz="1600" b="0">
                <a:solidFill>
                  <a:schemeClr val="tx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marL="228600" marR="0" lvl="0" indent="-228600" algn="l" defTabSz="914400" rtl="0" eaLnBrk="1" fontAlgn="base" latinLnBrk="0" hangingPunct="1">
              <a:lnSpc>
                <a:spcPct val="90000"/>
              </a:lnSpc>
              <a:spcBef>
                <a:spcPts val="1200"/>
              </a:spcBef>
              <a:spcAft>
                <a:spcPts val="0"/>
              </a:spcAft>
              <a:buClr>
                <a:srgbClr val="FFFFFF"/>
              </a:buClr>
              <a:buSzTx/>
              <a:buFont typeface="Arial" pitchFamily="34" charset="0"/>
              <a:buChar char="•"/>
              <a:tabLst/>
              <a:defRPr/>
            </a:pPr>
            <a:r>
              <a:rPr kumimoji="0" lang="en-US" sz="1400" b="0" i="0" u="none" strike="noStrike" kern="0" cap="none" spc="0" normalizeH="0" baseline="0" noProof="0" dirty="0" smtClean="0">
                <a:ln>
                  <a:noFill/>
                </a:ln>
                <a:solidFill>
                  <a:srgbClr val="FFFFFF"/>
                </a:solidFill>
                <a:effectLst/>
                <a:uLnTx/>
                <a:uFillTx/>
                <a:latin typeface="Museo Sans For Dell" pitchFamily="2" charset="0"/>
              </a:rPr>
              <a:t>Click to edit title</a:t>
            </a:r>
          </a:p>
          <a:p>
            <a:pPr marL="574675" marR="0" lvl="1" indent="-223838" algn="l" defTabSz="914400" rtl="0" eaLnBrk="1" fontAlgn="base" latinLnBrk="0" hangingPunct="1">
              <a:lnSpc>
                <a:spcPct val="90000"/>
              </a:lnSpc>
              <a:spcBef>
                <a:spcPts val="300"/>
              </a:spcBef>
              <a:spcAft>
                <a:spcPts val="0"/>
              </a:spcAft>
              <a:buClr>
                <a:srgbClr val="FFFFFF"/>
              </a:buClr>
              <a:buSzPct val="100000"/>
              <a:buFont typeface="Museo Sans For Dell" pitchFamily="2" charset="0"/>
              <a:buChar char="–"/>
              <a:tabLst/>
              <a:defRPr/>
            </a:pPr>
            <a:r>
              <a:rPr kumimoji="0" lang="en-US" sz="1200" b="0" i="0" u="none" strike="noStrike" kern="0" cap="none" spc="0" normalizeH="0" baseline="0" noProof="0" dirty="0" smtClean="0">
                <a:ln>
                  <a:noFill/>
                </a:ln>
                <a:solidFill>
                  <a:srgbClr val="FFFFFF"/>
                </a:solidFill>
                <a:effectLst/>
                <a:uLnTx/>
                <a:uFillTx/>
                <a:latin typeface="Museo Sans For Dell" pitchFamily="2" charset="0"/>
              </a:rPr>
              <a:t>Second level</a:t>
            </a:r>
          </a:p>
          <a:p>
            <a:pPr marL="909638" marR="0" lvl="2" indent="-220663" algn="l" defTabSz="914400" rtl="0" eaLnBrk="1" fontAlgn="base" latinLnBrk="0" hangingPunct="1">
              <a:lnSpc>
                <a:spcPct val="90000"/>
              </a:lnSpc>
              <a:spcBef>
                <a:spcPts val="300"/>
              </a:spcBef>
              <a:spcAft>
                <a:spcPts val="0"/>
              </a:spcAft>
              <a:buClr>
                <a:srgbClr val="FFFFFF"/>
              </a:buClr>
              <a:buSzTx/>
              <a:buFont typeface="Museo Sans For Dell" pitchFamily="2" charset="0"/>
              <a:buChar char="–"/>
              <a:tabLst/>
              <a:defRPr/>
            </a:pPr>
            <a:r>
              <a:rPr kumimoji="0" lang="en-US" sz="1000" b="0" i="0" u="none" strike="noStrike" kern="0" cap="none" spc="0" normalizeH="0" baseline="0" noProof="0" dirty="0" smtClean="0">
                <a:ln>
                  <a:noFill/>
                </a:ln>
                <a:solidFill>
                  <a:srgbClr val="FFFFFF"/>
                </a:solidFill>
                <a:effectLst/>
                <a:uLnTx/>
                <a:uFillTx/>
                <a:latin typeface="Museo Sans For Dell" pitchFamily="2" charset="0"/>
              </a:rPr>
              <a:t>Third level</a:t>
            </a:r>
          </a:p>
        </p:txBody>
      </p:sp>
      <p:sp>
        <p:nvSpPr>
          <p:cNvPr id="6" name="Title 1"/>
          <p:cNvSpPr>
            <a:spLocks noGrp="1"/>
          </p:cNvSpPr>
          <p:nvPr>
            <p:ph type="title" hasCustomPrompt="1"/>
          </p:nvPr>
        </p:nvSpPr>
        <p:spPr>
          <a:xfrm>
            <a:off x="364632" y="370595"/>
            <a:ext cx="7955280" cy="85344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2847001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990602"/>
            <a:ext cx="4040188" cy="914399"/>
          </a:xfrm>
        </p:spPr>
        <p:txBody>
          <a:bodyPr anchor="b">
            <a:noAutofit/>
          </a:bodyPr>
          <a:lstStyle>
            <a:lvl1pPr marL="0" indent="0">
              <a:buNone/>
              <a:defRPr sz="28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atin typeface="Arial" pitchFamily="34" charset="0"/>
                <a:cs typeface="Arial" pitchFamily="34"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8202" y="990600"/>
            <a:ext cx="4041775" cy="914400"/>
          </a:xfrm>
        </p:spPr>
        <p:txBody>
          <a:bodyPr anchor="b">
            <a:noAutofit/>
          </a:bodyPr>
          <a:lstStyle>
            <a:lvl1pPr marL="0" indent="0">
              <a:buNone/>
              <a:defRPr sz="28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7" y="1905000"/>
            <a:ext cx="4041775" cy="4221163"/>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76527978"/>
      </p:ext>
    </p:extLst>
  </p:cSld>
  <p:clrMapOvr>
    <a:masterClrMapping/>
  </p:clrMapOvr>
  <p:transition spd="med">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838201"/>
            <a:ext cx="4038600" cy="5287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838201"/>
            <a:ext cx="4038600" cy="5287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5" name="Slide Number Placeholder 6"/>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C0382CA2-DA0B-400B-A9A2-D907B36025E0}"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3968687797"/>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838201"/>
            <a:ext cx="4040188" cy="5334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371601"/>
            <a:ext cx="4040188" cy="47545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838201"/>
            <a:ext cx="4041775" cy="5334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1371601"/>
            <a:ext cx="4041775" cy="47545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7" name="Slide Number Placeholder 8"/>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85C37DB6-3523-466D-A0EA-655224E60355}"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2711311079"/>
      </p:ext>
    </p:extLst>
  </p:cSld>
  <p:clrMapOvr>
    <a:masterClrMapping/>
  </p:clrMapOvr>
  <p:transition spd="med">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685801"/>
            <a:ext cx="5111750" cy="5440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81002" y="9906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8" name="Title 1"/>
          <p:cNvSpPr>
            <a:spLocks noGrp="1"/>
          </p:cNvSpPr>
          <p:nvPr>
            <p:ph type="title"/>
          </p:nvPr>
        </p:nvSpPr>
        <p:spPr>
          <a:xfrm>
            <a:off x="76200" y="76200"/>
            <a:ext cx="8229600" cy="533400"/>
          </a:xfrm>
          <a:prstGeom prst="rect">
            <a:avLst/>
          </a:prstGeom>
        </p:spPr>
        <p:txBody>
          <a:bodyPr anchor="ctr">
            <a:normAutofit/>
          </a:bodyPr>
          <a:lstStyle>
            <a:lvl1pPr algn="l">
              <a:defRPr sz="2800" b="0" baseline="0">
                <a:solidFill>
                  <a:schemeClr val="bg1"/>
                </a:solidFill>
              </a:defRPr>
            </a:lvl1pPr>
          </a:lstStyle>
          <a:p>
            <a:r>
              <a:rPr lang="en-US" dirty="0" smtClean="0"/>
              <a:t>Click to edit Master title style</a:t>
            </a:r>
            <a:endParaRPr lang="en-US" dirty="0"/>
          </a:p>
        </p:txBody>
      </p:sp>
      <p:sp>
        <p:nvSpPr>
          <p:cNvPr id="5" name="Slide Number Placeholder 6"/>
          <p:cNvSpPr>
            <a:spLocks noGrp="1"/>
          </p:cNvSpPr>
          <p:nvPr>
            <p:ph type="sldNum" sz="quarter" idx="10"/>
          </p:nvPr>
        </p:nvSpPr>
        <p:spPr>
          <a:xfrm>
            <a:off x="7010400" y="6492876"/>
            <a:ext cx="2133600" cy="365125"/>
          </a:xfrm>
          <a:prstGeom prst="rect">
            <a:avLst/>
          </a:prstGeom>
        </p:spPr>
        <p:txBody>
          <a:bodyPr/>
          <a:lstStyle>
            <a:lvl1pPr fontAlgn="auto">
              <a:spcBef>
                <a:spcPts val="0"/>
              </a:spcBef>
              <a:spcAft>
                <a:spcPts val="0"/>
              </a:spcAft>
              <a:defRPr>
                <a:latin typeface="+mn-lt"/>
              </a:defRPr>
            </a:lvl1pPr>
          </a:lstStyle>
          <a:p>
            <a:pPr>
              <a:defRPr/>
            </a:pPr>
            <a:fld id="{12454DCD-AFB0-47F3-BDB5-4F8ADD78BB48}" type="slidenum">
              <a:rPr lang="en-US">
                <a:solidFill>
                  <a:srgbClr val="000000">
                    <a:lumMod val="60000"/>
                    <a:lumOff val="40000"/>
                  </a:srgbClr>
                </a:solidFill>
              </a:rPr>
              <a:pPr>
                <a:defRPr/>
              </a:pPr>
              <a:t>‹#›</a:t>
            </a:fld>
            <a:endParaRPr lang="en-US" dirty="0">
              <a:solidFill>
                <a:srgbClr val="000000">
                  <a:lumMod val="60000"/>
                  <a:lumOff val="40000"/>
                </a:srgbClr>
              </a:solidFill>
            </a:endParaRPr>
          </a:p>
        </p:txBody>
      </p:sp>
    </p:spTree>
    <p:extLst>
      <p:ext uri="{BB962C8B-B14F-4D97-AF65-F5344CB8AC3E}">
        <p14:creationId xmlns:p14="http://schemas.microsoft.com/office/powerpoint/2010/main" val="3712680248"/>
      </p:ext>
    </p:extLst>
  </p:cSld>
  <p:clrMapOvr>
    <a:masterClrMapping/>
  </p:clrMapOvr>
  <p:transition spd="med">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088" y="2679194"/>
            <a:ext cx="8750744" cy="1663319"/>
          </a:xfrm>
          <a:prstGeom prst="rect">
            <a:avLst/>
          </a:prstGeom>
        </p:spPr>
        <p:txBody>
          <a:bodyPr anchor="t">
            <a:normAutofit/>
          </a:bodyPr>
          <a:lstStyle>
            <a:lvl1pPr algn="ctr">
              <a:defRPr lang="en-US" sz="2800" dirty="0">
                <a:solidFill>
                  <a:schemeClr val="tx1">
                    <a:lumMod val="65000"/>
                    <a:lumOff val="35000"/>
                  </a:schemeClr>
                </a:solidFill>
                <a:latin typeface="Verdana"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69466399"/>
      </p:ext>
    </p:extLst>
  </p:cSld>
  <p:clrMapOvr>
    <a:masterClrMapping/>
  </p:clrMapOvr>
  <p:transition spd="med">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14400"/>
            <a:ext cx="4038600" cy="5029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14400"/>
            <a:ext cx="4038600" cy="5029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1"/>
          <p:cNvSpPr>
            <a:spLocks noGrp="1"/>
          </p:cNvSpPr>
          <p:nvPr>
            <p:ph type="title"/>
          </p:nvPr>
        </p:nvSpPr>
        <p:spPr>
          <a:xfrm>
            <a:off x="204788" y="109539"/>
            <a:ext cx="7605712" cy="5334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39251881"/>
      </p:ext>
    </p:extLst>
  </p:cSld>
  <p:clrMapOvr>
    <a:masterClrMapping/>
  </p:clrMapOvr>
  <p:transition spd="med">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40" y="6431530"/>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5AC5524E-9356-4341-ADF3-CFCC2A90BCDF}"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785669368"/>
      </p:ext>
    </p:extLst>
  </p:cSld>
  <p:clrMapOvr>
    <a:masterClrMapping/>
  </p:clrMapOvr>
  <p:transition spd="med">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Title_and_Content">
    <p:spTree>
      <p:nvGrpSpPr>
        <p:cNvPr id="1" name=""/>
        <p:cNvGrpSpPr/>
        <p:nvPr/>
      </p:nvGrpSpPr>
      <p:grpSpPr>
        <a:xfrm>
          <a:off x="0" y="0"/>
          <a:ext cx="0" cy="0"/>
          <a:chOff x="0" y="0"/>
          <a:chExt cx="0" cy="0"/>
        </a:xfrm>
      </p:grpSpPr>
      <p:pic>
        <p:nvPicPr>
          <p:cNvPr id="14" name="Picture 4" descr="http://intranet.dell.com/ds/Documents1/Dell%20Services%20Marketing%20Tool%20Kit/Logo/DELL%20Services%20Logo.png"/>
          <p:cNvPicPr>
            <a:picLocks noChangeAspect="1" noChangeArrowheads="1"/>
          </p:cNvPicPr>
          <p:nvPr userDrawn="1"/>
        </p:nvPicPr>
        <p:blipFill>
          <a:blip r:embed="rId2" cstate="print">
            <a:duotone>
              <a:schemeClr val="accent4">
                <a:shade val="45000"/>
                <a:satMod val="135000"/>
              </a:schemeClr>
              <a:prstClr val="white"/>
            </a:duotone>
          </a:blip>
          <a:srcRect r="56012"/>
          <a:stretch>
            <a:fillRect/>
          </a:stretch>
        </p:blipFill>
        <p:spPr bwMode="auto">
          <a:xfrm>
            <a:off x="8368133" y="6417572"/>
            <a:ext cx="342480" cy="330899"/>
          </a:xfrm>
          <a:prstGeom prst="rect">
            <a:avLst/>
          </a:prstGeom>
          <a:noFill/>
        </p:spPr>
      </p:pic>
      <p:cxnSp>
        <p:nvCxnSpPr>
          <p:cNvPr id="16" name="Straight Connector 15"/>
          <p:cNvCxnSpPr>
            <a:cxnSpLocks noChangeShapeType="1"/>
          </p:cNvCxnSpPr>
          <p:nvPr userDrawn="1"/>
        </p:nvCxnSpPr>
        <p:spPr bwMode="auto">
          <a:xfrm>
            <a:off x="457200" y="6302832"/>
            <a:ext cx="8229600" cy="0"/>
          </a:xfrm>
          <a:prstGeom prst="line">
            <a:avLst/>
          </a:prstGeom>
          <a:noFill/>
          <a:ln w="9525">
            <a:solidFill>
              <a:srgbClr val="AAAAAA"/>
            </a:solidFill>
            <a:round/>
            <a:headEnd/>
            <a:tailEnd/>
          </a:ln>
        </p:spPr>
      </p:cxnSp>
    </p:spTree>
    <p:extLst>
      <p:ext uri="{BB962C8B-B14F-4D97-AF65-F5344CB8AC3E}">
        <p14:creationId xmlns:p14="http://schemas.microsoft.com/office/powerpoint/2010/main" val="4289371602"/>
      </p:ext>
    </p:extLst>
  </p:cSld>
  <p:clrMapOvr>
    <a:masterClrMapping/>
  </p:clrMapOvr>
  <p:transition spd="med">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57200" y="2679491"/>
            <a:ext cx="5962650" cy="1006685"/>
          </a:xfrm>
        </p:spPr>
        <p:txBody>
          <a:bodyPr anchor="b" anchorCtr="0"/>
          <a:lstStyle>
            <a:lvl1pPr algn="l">
              <a:lnSpc>
                <a:spcPts val="4000"/>
              </a:lnSpc>
              <a:defRPr sz="36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57202" y="4165391"/>
            <a:ext cx="5953125" cy="800101"/>
          </a:xfrm>
        </p:spPr>
        <p:txBody>
          <a:bodyPr lIns="0" tIns="0" rIns="0" bIns="0" anchor="t" anchorCtr="0">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en-US" smtClean="0"/>
              <a:t>Click to edit Master subtitle style</a:t>
            </a:r>
            <a:endParaRPr lang="en-US" dirty="0" smtClean="0"/>
          </a:p>
        </p:txBody>
      </p:sp>
      <p:cxnSp>
        <p:nvCxnSpPr>
          <p:cNvPr id="8" name="Straight Connector 7"/>
          <p:cNvCxnSpPr/>
          <p:nvPr/>
        </p:nvCxnSpPr>
        <p:spPr>
          <a:xfrm>
            <a:off x="447675" y="178117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5076825"/>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444444"/>
              </a:solidFill>
              <a:latin typeface="Trebuchet MS" pitchFamily="34" charset="0"/>
            </a:endParaRPr>
          </a:p>
        </p:txBody>
      </p:sp>
      <p:sp>
        <p:nvSpPr>
          <p:cNvPr id="14" name="Rectangle 13"/>
          <p:cNvSpPr/>
          <p:nvPr/>
        </p:nvSpPr>
        <p:spPr bwMode="hidden">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444444"/>
              </a:solidFill>
              <a:latin typeface="Trebuchet MS" pitchFamily="34" charset="0"/>
            </a:endParaRPr>
          </a:p>
        </p:txBody>
      </p:sp>
      <p:sp>
        <p:nvSpPr>
          <p:cNvPr id="19" name="Rectangle 18"/>
          <p:cNvSpPr/>
          <p:nvPr/>
        </p:nvSpPr>
        <p:spPr bwMode="hidden">
          <a:xfrm>
            <a:off x="2" y="6362701"/>
            <a:ext cx="1000125"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444444"/>
              </a:solidFill>
              <a:latin typeface="Trebuchet MS" pitchFamily="34" charset="0"/>
            </a:endParaRPr>
          </a:p>
        </p:txBody>
      </p:sp>
      <p:pic>
        <p:nvPicPr>
          <p:cNvPr id="11" name="Picture 10" descr="dell_blue_lrg_logo.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65291" y="2651761"/>
            <a:ext cx="1487427" cy="1487427"/>
          </a:xfrm>
          <a:prstGeom prst="rect">
            <a:avLst/>
          </a:prstGeom>
        </p:spPr>
      </p:pic>
    </p:spTree>
    <p:extLst>
      <p:ext uri="{BB962C8B-B14F-4D97-AF65-F5344CB8AC3E}">
        <p14:creationId xmlns:p14="http://schemas.microsoft.com/office/powerpoint/2010/main" val="109537981"/>
      </p:ext>
    </p:extLst>
  </p:cSld>
  <p:clrMapOvr>
    <a:masterClrMapping/>
  </p:clrMapOvr>
  <p:transition spd="med">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57200" y="1280160"/>
            <a:ext cx="8229600" cy="475488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0" name="Straight Connector 19"/>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5"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6"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8"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A5ED237-BA49-494A-B3B3-DDC72CDA5986}"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872443492"/>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2" y="370595"/>
            <a:ext cx="7955280" cy="85344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1716318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41425"/>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41425"/>
            <a:ext cx="4023360" cy="489043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5"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A1BD0CCE-4CF1-4416-AC93-D16C31AA61FF}"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603153846"/>
      </p:ext>
    </p:extLst>
  </p:cSld>
  <p:clrMapOvr>
    <a:masterClrMapping/>
  </p:clrMapOvr>
  <p:transition spd="med">
    <p:wipe dir="r"/>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46" y="1237786"/>
            <a:ext cx="4023360" cy="2888167"/>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1237786"/>
            <a:ext cx="4023360" cy="2888167"/>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4675" indent="-231775">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14" name="Straight Connector 13"/>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13"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4" name="Content Placeholder 3"/>
          <p:cNvSpPr>
            <a:spLocks noGrp="1"/>
          </p:cNvSpPr>
          <p:nvPr>
            <p:ph sz="quarter" idx="12"/>
          </p:nvPr>
        </p:nvSpPr>
        <p:spPr>
          <a:xfrm>
            <a:off x="434975" y="4270916"/>
            <a:ext cx="8262938" cy="189493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718DB286-FF79-4BB2-AAE8-04B104D0A731}"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2447527098"/>
      </p:ext>
    </p:extLst>
  </p:cSld>
  <p:clrMapOvr>
    <a:masterClrMapping/>
  </p:clrMapOvr>
  <p:transition spd="med">
    <p:wipe dir="r"/>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40" y="6431530"/>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261563"/>
            <a:ext cx="8239126" cy="85356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EC21B2A-3096-494E-9123-2989D3AEA588}"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23336889"/>
      </p:ext>
    </p:extLst>
  </p:cSld>
  <p:clrMapOvr>
    <a:masterClrMapping/>
  </p:clrMapOvr>
  <p:transition spd="med">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6172200"/>
            <a:ext cx="8229600" cy="0"/>
          </a:xfrm>
          <a:prstGeom prst="line">
            <a:avLst/>
          </a:prstGeom>
          <a:noFill/>
          <a:ln w="9525">
            <a:solidFill>
              <a:srgbClr val="AAAAAA"/>
            </a:solidFill>
            <a:round/>
            <a:headEnd/>
            <a:tailEnd/>
          </a:ln>
        </p:spPr>
      </p:cxn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630BBFFE-C5E9-46F1-9426-174141C09A9C}"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826220947"/>
      </p:ext>
    </p:extLst>
  </p:cSld>
  <p:clrMapOvr>
    <a:masterClrMapping/>
  </p:clrMapOvr>
  <p:transition spd="med">
    <p:wipe dir="r"/>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9"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5EC22BE8-83F9-4C18-8DAB-5390261EDED8}"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39348511"/>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72DF531-3468-4E88-943B-AD2ADAEBFE57}"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3537895630"/>
      </p:ext>
    </p:extLst>
  </p:cSld>
  <p:clrMapOvr>
    <a:masterClrMapping/>
  </p:clrMapOvr>
  <p:transition spd="med">
    <p:wipe dir="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2E81D4E3-FF1C-447C-90A3-895A8C5392F1}"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102622634"/>
      </p:ext>
    </p:extLst>
  </p:cSld>
  <p:clrMapOvr>
    <a:masterClrMapping/>
  </p:clrMapOvr>
  <p:transition spd="med">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457200"/>
            <a:ext cx="3657600" cy="36576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F957C7E-C7E7-40ED-8DBB-CAEED742A383}"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610970367"/>
      </p:ext>
    </p:extLst>
  </p:cSld>
  <p:clrMapOvr>
    <a:masterClrMapping/>
  </p:clrMapOvr>
  <p:transition spd="med">
    <p:wipe dir="r"/>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457200"/>
            <a:ext cx="3657600" cy="36576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3200" b="0">
                <a:solidFill>
                  <a:schemeClr val="tx2"/>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02" y="6428234"/>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3ABA7141-3D1C-4B71-8E8A-1A5A719C17C1}" type="datetime1">
              <a:rPr lang="en-US">
                <a:solidFill>
                  <a:srgbClr val="000000">
                    <a:lumMod val="60000"/>
                    <a:lumOff val="40000"/>
                  </a:srgbClr>
                </a:solidFill>
              </a:rPr>
              <a:pPr/>
              <a:t>10/22/2014</a:t>
            </a:fld>
            <a:endParaRPr dirty="0">
              <a:solidFill>
                <a:srgbClr val="000000">
                  <a:lumMod val="60000"/>
                  <a:lumOff val="40000"/>
                </a:srgbClr>
              </a:solidFill>
            </a:endParaRPr>
          </a:p>
        </p:txBody>
      </p:sp>
    </p:spTree>
    <p:extLst>
      <p:ext uri="{BB962C8B-B14F-4D97-AF65-F5344CB8AC3E}">
        <p14:creationId xmlns:p14="http://schemas.microsoft.com/office/powerpoint/2010/main" val="4070223224"/>
      </p:ext>
    </p:extLst>
  </p:cSld>
  <p:clrMapOvr>
    <a:masterClrMapping/>
  </p:clrMapOvr>
  <p:transition spd="med">
    <p:wipe dir="r"/>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li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62735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Dell Blue background ">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504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76200" y="76200"/>
            <a:ext cx="8229600" cy="68580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705234823"/>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671910349"/>
      </p:ext>
    </p:extLst>
  </p:cSld>
  <p:clrMapOvr>
    <a:masterClrMapping/>
  </p:clrMapOvr>
  <p:transition spd="med">
    <p:wipe dir="r"/>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 y="137160"/>
            <a:ext cx="9144000" cy="6858000"/>
          </a:xfrm>
          <a:prstGeom prst="rect">
            <a:avLst/>
          </a:prstGeom>
        </p:spPr>
      </p:pic>
      <p:sp>
        <p:nvSpPr>
          <p:cNvPr id="2" name="Titel 1"/>
          <p:cNvSpPr>
            <a:spLocks noGrp="1"/>
          </p:cNvSpPr>
          <p:nvPr>
            <p:ph type="ctrTitle"/>
          </p:nvPr>
        </p:nvSpPr>
        <p:spPr bwMode="gray">
          <a:xfrm>
            <a:off x="503238" y="1701830"/>
            <a:ext cx="8137526" cy="2592561"/>
          </a:xfrm>
          <a:prstGeom prst="rect">
            <a:avLst/>
          </a:prstGeom>
        </p:spPr>
        <p:txBody>
          <a:bodyPr anchor="b"/>
          <a:lstStyle>
            <a:lvl1pPr algn="ctr">
              <a:lnSpc>
                <a:spcPct val="95000"/>
              </a:lnSpc>
              <a:defRPr sz="3200">
                <a:solidFill>
                  <a:schemeClr val="bg1"/>
                </a:solidFill>
              </a:defRPr>
            </a:lvl1pPr>
          </a:lstStyle>
          <a:p>
            <a:r>
              <a:rPr lang="en-US" dirty="0" smtClean="0"/>
              <a:t>Click to edit Master title style</a:t>
            </a:r>
            <a:endParaRPr lang="de-DE" dirty="0"/>
          </a:p>
        </p:txBody>
      </p:sp>
      <p:sp>
        <p:nvSpPr>
          <p:cNvPr id="3" name="Untertitel 2"/>
          <p:cNvSpPr>
            <a:spLocks noGrp="1"/>
          </p:cNvSpPr>
          <p:nvPr>
            <p:ph type="subTitle" idx="1"/>
          </p:nvPr>
        </p:nvSpPr>
        <p:spPr bwMode="gray">
          <a:xfrm>
            <a:off x="503238" y="4294360"/>
            <a:ext cx="8137526" cy="1439688"/>
          </a:xfrm>
          <a:prstGeom prst="rect">
            <a:avLst/>
          </a:prstGeom>
        </p:spPr>
        <p:txBody>
          <a:bodyPr/>
          <a:lstStyle>
            <a:lvl1pPr marL="0" indent="0" algn="ctr">
              <a:buNone/>
              <a:defRPr sz="1600" b="0">
                <a:solidFill>
                  <a:schemeClr val="bg1"/>
                </a:solidFill>
              </a:defRPr>
            </a:lvl1pPr>
            <a:lvl2pPr marL="308610" indent="0" algn="ctr">
              <a:buNone/>
              <a:defRPr>
                <a:solidFill>
                  <a:schemeClr val="tx1">
                    <a:tint val="75000"/>
                  </a:schemeClr>
                </a:solidFill>
              </a:defRPr>
            </a:lvl2pPr>
            <a:lvl3pPr marL="617220" indent="0" algn="ctr">
              <a:buNone/>
              <a:defRPr>
                <a:solidFill>
                  <a:schemeClr val="tx1">
                    <a:tint val="75000"/>
                  </a:schemeClr>
                </a:solidFill>
              </a:defRPr>
            </a:lvl3pPr>
            <a:lvl4pPr marL="925830" indent="0" algn="ctr">
              <a:buNone/>
              <a:defRPr>
                <a:solidFill>
                  <a:schemeClr val="tx1">
                    <a:tint val="75000"/>
                  </a:schemeClr>
                </a:solidFill>
              </a:defRPr>
            </a:lvl4pPr>
            <a:lvl5pPr marL="1234440" indent="0" algn="ctr">
              <a:buNone/>
              <a:defRPr>
                <a:solidFill>
                  <a:schemeClr val="tx1">
                    <a:tint val="75000"/>
                  </a:schemeClr>
                </a:solidFill>
              </a:defRPr>
            </a:lvl5pPr>
            <a:lvl6pPr marL="1543050" indent="0" algn="ctr">
              <a:buNone/>
              <a:defRPr>
                <a:solidFill>
                  <a:schemeClr val="tx1">
                    <a:tint val="75000"/>
                  </a:schemeClr>
                </a:solidFill>
              </a:defRPr>
            </a:lvl6pPr>
            <a:lvl7pPr marL="1851660" indent="0" algn="ctr">
              <a:buNone/>
              <a:defRPr>
                <a:solidFill>
                  <a:schemeClr val="tx1">
                    <a:tint val="75000"/>
                  </a:schemeClr>
                </a:solidFill>
              </a:defRPr>
            </a:lvl7pPr>
            <a:lvl8pPr marL="2160270" indent="0" algn="ctr">
              <a:buNone/>
              <a:defRPr>
                <a:solidFill>
                  <a:schemeClr val="tx1">
                    <a:tint val="75000"/>
                  </a:schemeClr>
                </a:solidFill>
              </a:defRPr>
            </a:lvl8pPr>
            <a:lvl9pPr marL="2468880" indent="0" algn="ctr">
              <a:buNone/>
              <a:defRPr>
                <a:solidFill>
                  <a:schemeClr val="tx1">
                    <a:tint val="75000"/>
                  </a:schemeClr>
                </a:solidFill>
              </a:defRPr>
            </a:lvl9pPr>
          </a:lstStyle>
          <a:p>
            <a:r>
              <a:rPr lang="en-US" dirty="0" smtClean="0"/>
              <a:t>Click to edit Master subtitle style</a:t>
            </a:r>
            <a:endParaRPr lang="de-DE" dirty="0"/>
          </a:p>
        </p:txBody>
      </p:sp>
      <p:pic>
        <p:nvPicPr>
          <p:cNvPr id="8" name="Picture 7"/>
          <p:cNvPicPr>
            <a:picLocks noChangeAspect="1"/>
          </p:cNvPicPr>
          <p:nvPr userDrawn="1"/>
        </p:nvPicPr>
        <p:blipFill>
          <a:blip r:embed="rId3" cstate="print"/>
          <a:stretch>
            <a:fillRect/>
          </a:stretch>
        </p:blipFill>
        <p:spPr>
          <a:xfrm>
            <a:off x="457200" y="482600"/>
            <a:ext cx="1858962" cy="370080"/>
          </a:xfrm>
          <a:prstGeom prst="rect">
            <a:avLst/>
          </a:prstGeom>
        </p:spPr>
      </p:pic>
      <p:sp>
        <p:nvSpPr>
          <p:cNvPr id="4" name="fc"/>
          <p:cNvSpPr txBox="1"/>
          <p:nvPr userDrawn="1"/>
        </p:nvSpPr>
        <p:spPr>
          <a:xfrm>
            <a:off x="0" y="6657340"/>
            <a:ext cx="9144000" cy="0"/>
          </a:xfrm>
          <a:prstGeom prst="rect">
            <a:avLst/>
          </a:prstGeom>
          <a:noFill/>
        </p:spPr>
        <p:txBody>
          <a:bodyPr vert="horz" wrap="square" lIns="0" tIns="0" rIns="0" bIns="0" rtlCol="0">
            <a:noAutofit/>
          </a:bodyPr>
          <a:lstStyle/>
          <a:p>
            <a:pPr marL="180975" indent="-180975" algn="ctr">
              <a:spcBef>
                <a:spcPts val="200"/>
              </a:spcBef>
              <a:spcAft>
                <a:spcPts val="200"/>
              </a:spcAft>
              <a:buClr>
                <a:schemeClr val="accent1"/>
              </a:buClr>
              <a:buSzPct val="70000"/>
              <a:buFont typeface="Wingdings" pitchFamily="2" charset="2"/>
              <a:buChar char="n"/>
            </a:pPr>
            <a:endParaRPr lang="en-US" sz="900" b="0" i="0" u="none" baseline="0" dirty="0" err="1" smtClean="0">
              <a:solidFill>
                <a:srgbClr val="1F497D"/>
              </a:solidFill>
              <a:latin typeface="arial unicode ms"/>
            </a:endParaRPr>
          </a:p>
        </p:txBody>
      </p:sp>
    </p:spTree>
    <p:extLst>
      <p:ext uri="{BB962C8B-B14F-4D97-AF65-F5344CB8AC3E}">
        <p14:creationId xmlns:p14="http://schemas.microsoft.com/office/powerpoint/2010/main" val="25896023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asic - Blu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lvl1pPr>
              <a:defRPr b="1"/>
            </a:lvl1pPr>
          </a:lstStyle>
          <a:p>
            <a:r>
              <a:rPr lang="en-US" dirty="0" smtClean="0"/>
              <a:t>Click to edit Master title style</a:t>
            </a:r>
            <a:endParaRPr lang="de-DE" dirty="0"/>
          </a:p>
        </p:txBody>
      </p:sp>
      <p:sp>
        <p:nvSpPr>
          <p:cNvPr id="8"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
        <p:nvSpPr>
          <p:cNvPr id="9"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6220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asic - Orang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dirty="0" smtClean="0"/>
              <a:t>Click to edit Master title style</a:t>
            </a:r>
            <a:endParaRPr lang="de-DE" dirty="0"/>
          </a:p>
        </p:txBody>
      </p:sp>
      <p:sp>
        <p:nvSpPr>
          <p:cNvPr id="9" name="Rechteck 6"/>
          <p:cNvSpPr/>
          <p:nvPr userDrawn="1"/>
        </p:nvSpPr>
        <p:spPr bwMode="gray">
          <a:xfrm>
            <a:off x="0" y="0"/>
            <a:ext cx="914400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10"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3162794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asic - Deep Orang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Rechteck 6"/>
          <p:cNvSpPr/>
          <p:nvPr userDrawn="1"/>
        </p:nvSpPr>
        <p:spPr bwMode="gray">
          <a:xfrm>
            <a:off x="0" y="0"/>
            <a:ext cx="9144000" cy="1371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7"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1939473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Basic -  Tea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Rechteck 6"/>
          <p:cNvSpPr/>
          <p:nvPr userDrawn="1"/>
        </p:nvSpPr>
        <p:spPr bwMode="gray">
          <a:xfrm>
            <a:off x="0" y="0"/>
            <a:ext cx="91440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7"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3126049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asic -  Black">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Rechteck 6"/>
          <p:cNvSpPr/>
          <p:nvPr userDrawn="1"/>
        </p:nvSpPr>
        <p:spPr bwMode="gray">
          <a:xfrm>
            <a:off x="0" y="0"/>
            <a:ext cx="9144000" cy="137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7"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45337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Basic -  Dark Gre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Rechteck 6"/>
          <p:cNvSpPr/>
          <p:nvPr userDrawn="1"/>
        </p:nvSpPr>
        <p:spPr bwMode="gray">
          <a:xfrm>
            <a:off x="0" y="0"/>
            <a:ext cx="9144000" cy="137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7"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1491903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Basic -  Gre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Rechteck 6"/>
          <p:cNvSpPr/>
          <p:nvPr userDrawn="1"/>
        </p:nvSpPr>
        <p:spPr bwMode="gray">
          <a:xfrm>
            <a:off x="0" y="0"/>
            <a:ext cx="91440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7"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2239269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ll Blue divider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4055386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Basic -  Light Gre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Rechteck 6"/>
          <p:cNvSpPr/>
          <p:nvPr userDrawn="1"/>
        </p:nvSpPr>
        <p:spPr bwMode="gray">
          <a:xfrm>
            <a:off x="0" y="0"/>
            <a:ext cx="9144000" cy="137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
        <p:nvSpPr>
          <p:cNvPr id="7" name="Textplatzhalter 7"/>
          <p:cNvSpPr>
            <a:spLocks noGrp="1"/>
          </p:cNvSpPr>
          <p:nvPr>
            <p:ph type="body" sz="quarter" idx="13" hasCustomPrompt="1"/>
          </p:nvPr>
        </p:nvSpPr>
        <p:spPr bwMode="gray">
          <a:xfrm>
            <a:off x="304803" y="1397003"/>
            <a:ext cx="8137525"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284163" marR="0" indent="-231775"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a:lvl2pPr>
            <a:lvl3pPr marL="461963" marR="0" indent="-2317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a:lvl3pPr>
            <a:lvl4pPr marL="630238" marR="0" indent="-2317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a:lvl4pPr>
            <a:lvl5pPr marL="860425" marR="0" indent="-230188"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Tree>
    <p:extLst>
      <p:ext uri="{BB962C8B-B14F-4D97-AF65-F5344CB8AC3E}">
        <p14:creationId xmlns:p14="http://schemas.microsoft.com/office/powerpoint/2010/main" val="22509120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textbox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8" name="Textplatzhalter 7"/>
          <p:cNvSpPr>
            <a:spLocks noGrp="1"/>
          </p:cNvSpPr>
          <p:nvPr>
            <p:ph type="body" sz="quarter" idx="13" hasCustomPrompt="1"/>
          </p:nvPr>
        </p:nvSpPr>
        <p:spPr bwMode="gray">
          <a:xfrm>
            <a:off x="304802" y="1701807"/>
            <a:ext cx="3763961"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a:lvl1pPr>
            <a:lvl2pPr marL="15716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lvl2pPr>
            <a:lvl3pPr marL="465773" marR="0" indent="-158592"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a:lvl3pPr>
            <a:lvl4pPr marL="722948" marR="0" indent="-15430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a:lvl4pPr>
            <a:lvl5pPr marL="98012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lvl5pPr>
            <a:lvl6pPr>
              <a:defRPr/>
            </a:lvl6pPr>
          </a:lstStyle>
          <a:p>
            <a:pPr marL="0" marR="0" lvl="0" indent="0" algn="l" defTabSz="617220" rtl="0" eaLnBrk="1" fontAlgn="auto" latinLnBrk="0" hangingPunct="1">
              <a:lnSpc>
                <a:spcPct val="100000"/>
              </a:lnSpc>
              <a:spcBef>
                <a:spcPts val="135"/>
              </a:spcBef>
              <a:spcAft>
                <a:spcPts val="135"/>
              </a:spcAft>
              <a:buClrTx/>
              <a:buSzTx/>
              <a:buFont typeface="Arial" pitchFamily="34" charset="0"/>
              <a:buNone/>
              <a:tabLst/>
              <a:defRPr/>
            </a:pPr>
            <a:r>
              <a:rPr kumimoji="0" lang="de-DE" sz="2400" b="0" i="0" u="none" strike="noStrike" kern="1200" cap="none" spc="0" normalizeH="0" baseline="0" noProof="0" dirty="0" smtClean="0">
                <a:ln>
                  <a:noFill/>
                </a:ln>
                <a:solidFill>
                  <a:srgbClr val="5F5F5F"/>
                </a:solidFill>
                <a:effectLst/>
                <a:uLnTx/>
                <a:uFillTx/>
                <a:latin typeface="+mn-lt"/>
                <a:ea typeface="+mn-ea"/>
                <a:cs typeface="+mn-cs"/>
              </a:rPr>
              <a:t>Click to Edit Master Text Styles</a:t>
            </a:r>
          </a:p>
          <a:p>
            <a:pPr marL="157163" marR="0" lvl="1"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pPr>
            <a:r>
              <a:rPr kumimoji="0" lang="de-DE" sz="2000" b="0" i="0" u="none" strike="noStrike" kern="1200" cap="none" spc="0" normalizeH="0" baseline="0" noProof="0" dirty="0" smtClean="0">
                <a:ln>
                  <a:noFill/>
                </a:ln>
                <a:solidFill>
                  <a:srgbClr val="5F5F5F"/>
                </a:solidFill>
                <a:effectLst/>
                <a:uLnTx/>
                <a:uFillTx/>
                <a:latin typeface="+mn-lt"/>
                <a:ea typeface="+mn-ea"/>
                <a:cs typeface="+mn-cs"/>
              </a:rPr>
              <a:t>Second Level</a:t>
            </a:r>
          </a:p>
          <a:p>
            <a:pPr marL="465773" marR="0" lvl="2" indent="-158592"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a:pPr>
            <a:r>
              <a:rPr kumimoji="0" lang="de-DE" sz="2000" b="0" i="0" u="none" strike="noStrike" kern="1200" cap="none" spc="0" normalizeH="0" baseline="0" noProof="0" dirty="0" smtClean="0">
                <a:ln>
                  <a:noFill/>
                </a:ln>
                <a:solidFill>
                  <a:srgbClr val="5F5F5F"/>
                </a:solidFill>
                <a:effectLst/>
                <a:uLnTx/>
                <a:uFillTx/>
                <a:latin typeface="+mn-lt"/>
                <a:ea typeface="+mn-ea"/>
                <a:cs typeface="+mn-cs"/>
              </a:rPr>
              <a:t>Third Level</a:t>
            </a:r>
          </a:p>
          <a:p>
            <a:pPr marL="722948" marR="0" lvl="3" indent="-15430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a:pPr>
            <a:r>
              <a:rPr kumimoji="0" lang="de-DE" sz="1800" b="0" i="0" u="none" strike="noStrike" kern="1200" cap="none" spc="0" normalizeH="0" baseline="0" noProof="0" dirty="0" smtClean="0">
                <a:ln>
                  <a:noFill/>
                </a:ln>
                <a:solidFill>
                  <a:srgbClr val="5F5F5F"/>
                </a:solidFill>
                <a:effectLst/>
                <a:uLnTx/>
                <a:uFillTx/>
                <a:latin typeface="+mn-lt"/>
                <a:ea typeface="+mn-ea"/>
                <a:cs typeface="+mn-cs"/>
              </a:rPr>
              <a:t>Fourth Level</a:t>
            </a:r>
          </a:p>
          <a:p>
            <a:pPr marL="980123" marR="0" lvl="4"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pPr>
            <a:r>
              <a:rPr kumimoji="0" lang="de-DE" sz="1800" b="0" i="0" u="none" strike="noStrike" kern="1200" cap="none" spc="0" normalizeH="0" baseline="0" noProof="0" dirty="0" smtClean="0">
                <a:ln>
                  <a:noFill/>
                </a:ln>
                <a:solidFill>
                  <a:srgbClr val="5F5F5F"/>
                </a:solidFill>
                <a:effectLst/>
                <a:uLnTx/>
                <a:uFillTx/>
                <a:latin typeface="+mn-lt"/>
                <a:ea typeface="+mn-ea"/>
                <a:cs typeface="+mn-cs"/>
              </a:rPr>
              <a:t>Fifth Level</a:t>
            </a:r>
          </a:p>
        </p:txBody>
      </p:sp>
      <p:sp>
        <p:nvSpPr>
          <p:cNvPr id="7" name="Textplatzhalter 7"/>
          <p:cNvSpPr>
            <a:spLocks noGrp="1"/>
          </p:cNvSpPr>
          <p:nvPr>
            <p:ph type="body" sz="quarter" idx="14" hasCustomPrompt="1"/>
          </p:nvPr>
        </p:nvSpPr>
        <p:spPr bwMode="gray">
          <a:xfrm>
            <a:off x="4640285" y="1701807"/>
            <a:ext cx="3801153"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520"/>
            </a:lvl1pPr>
            <a:lvl2pPr marL="15716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lvl2pPr>
            <a:lvl3pPr marL="465773" marR="0" indent="-158592"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a:lvl3pPr>
            <a:lvl4pPr marL="722948" marR="0" indent="-15430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baseline="0"/>
            </a:lvl4pPr>
            <a:lvl5pPr marL="98012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
        <p:nvSpPr>
          <p:cNvPr id="9"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3639312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icture + textbox">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7" name="Textplatzhalter 7"/>
          <p:cNvSpPr>
            <a:spLocks noGrp="1"/>
          </p:cNvSpPr>
          <p:nvPr>
            <p:ph type="body" sz="quarter" idx="14" hasCustomPrompt="1"/>
          </p:nvPr>
        </p:nvSpPr>
        <p:spPr bwMode="gray">
          <a:xfrm>
            <a:off x="4573588" y="1701807"/>
            <a:ext cx="3960812" cy="4391025"/>
          </a:xfrm>
          <a:prstGeom prst="rect">
            <a:avLst/>
          </a:prstGeom>
        </p:spPr>
        <p:txBody>
          <a:bodyPr/>
          <a:lst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a:lvl1pPr>
            <a:lvl2pPr marL="15716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lvl2pPr>
            <a:lvl3pPr marL="465773" marR="0" indent="-158592"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a:lvl3pPr>
            <a:lvl4pPr marL="722948" marR="0" indent="-15430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a:lvl4pPr>
            <a:lvl5pPr marL="98012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a:lvl5pPr>
          </a:lstStyle>
          <a:p>
            <a:pPr lvl="0"/>
            <a:r>
              <a:rPr lang="de-DE" dirty="0" smtClean="0"/>
              <a:t>Click to Edit Master Text Styles</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p:txBody>
      </p:sp>
      <p:sp>
        <p:nvSpPr>
          <p:cNvPr id="9" name="Bildplatzhalter 8"/>
          <p:cNvSpPr>
            <a:spLocks noGrp="1"/>
          </p:cNvSpPr>
          <p:nvPr>
            <p:ph type="pic" sz="quarter" idx="15" hasCustomPrompt="1"/>
          </p:nvPr>
        </p:nvSpPr>
        <p:spPr>
          <a:xfrm>
            <a:off x="304800" y="1701807"/>
            <a:ext cx="4114800" cy="4391025"/>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8"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3245951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Bildplatzhalter 8"/>
          <p:cNvSpPr>
            <a:spLocks noGrp="1"/>
          </p:cNvSpPr>
          <p:nvPr>
            <p:ph type="pic" sz="quarter" idx="15" hasCustomPrompt="1"/>
          </p:nvPr>
        </p:nvSpPr>
        <p:spPr>
          <a:xfrm>
            <a:off x="304800" y="2060579"/>
            <a:ext cx="4114800" cy="4032249"/>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8" name="Bildplatzhalter 8"/>
          <p:cNvSpPr>
            <a:spLocks noGrp="1"/>
          </p:cNvSpPr>
          <p:nvPr>
            <p:ph type="pic" sz="quarter" idx="16" hasCustomPrompt="1"/>
          </p:nvPr>
        </p:nvSpPr>
        <p:spPr>
          <a:xfrm>
            <a:off x="4648200" y="2060579"/>
            <a:ext cx="4113212" cy="4032249"/>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10"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2422985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9" name="Bildplatzhalter 8"/>
          <p:cNvSpPr>
            <a:spLocks noGrp="1"/>
          </p:cNvSpPr>
          <p:nvPr>
            <p:ph type="pic" sz="quarter" idx="15" hasCustomPrompt="1"/>
          </p:nvPr>
        </p:nvSpPr>
        <p:spPr>
          <a:xfrm>
            <a:off x="304800" y="2060607"/>
            <a:ext cx="4114800" cy="1908175"/>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8" name="Bildplatzhalter 8"/>
          <p:cNvSpPr>
            <a:spLocks noGrp="1"/>
          </p:cNvSpPr>
          <p:nvPr>
            <p:ph type="pic" sz="quarter" idx="16" hasCustomPrompt="1"/>
          </p:nvPr>
        </p:nvSpPr>
        <p:spPr>
          <a:xfrm>
            <a:off x="4648200" y="2060607"/>
            <a:ext cx="4114800" cy="1908175"/>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10" name="Bildplatzhalter 8"/>
          <p:cNvSpPr>
            <a:spLocks noGrp="1"/>
          </p:cNvSpPr>
          <p:nvPr>
            <p:ph type="pic" sz="quarter" idx="17" hasCustomPrompt="1"/>
          </p:nvPr>
        </p:nvSpPr>
        <p:spPr>
          <a:xfrm>
            <a:off x="304800" y="4184664"/>
            <a:ext cx="4114800" cy="1908175"/>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11" name="Bildplatzhalter 8"/>
          <p:cNvSpPr>
            <a:spLocks noGrp="1"/>
          </p:cNvSpPr>
          <p:nvPr>
            <p:ph type="pic" sz="quarter" idx="18" hasCustomPrompt="1"/>
          </p:nvPr>
        </p:nvSpPr>
        <p:spPr>
          <a:xfrm>
            <a:off x="4648200" y="4184664"/>
            <a:ext cx="4114800" cy="1908175"/>
          </a:xfrm>
          <a:prstGeom prst="rect">
            <a:avLst/>
          </a:prstGeom>
        </p:spPr>
        <p:txBody>
          <a:bodyPr anchor="ctr"/>
          <a:lstStyle>
            <a:lvl1pPr algn="ctr">
              <a:defRPr i="1">
                <a:solidFill>
                  <a:schemeClr val="tx2"/>
                </a:solidFill>
              </a:defRPr>
            </a:lvl1pPr>
          </a:lstStyle>
          <a:p>
            <a:r>
              <a:rPr lang="de-DE" dirty="0" smtClean="0"/>
              <a:t>Click on </a:t>
            </a:r>
            <a:r>
              <a:rPr lang="de-DE" dirty="0" err="1" smtClean="0"/>
              <a:t>the</a:t>
            </a:r>
            <a:r>
              <a:rPr lang="de-DE" dirty="0" smtClean="0"/>
              <a:t> </a:t>
            </a:r>
            <a:r>
              <a:rPr lang="de-DE" dirty="0" err="1" smtClean="0"/>
              <a:t>icon</a:t>
            </a:r>
            <a:r>
              <a:rPr lang="de-DE" dirty="0" smtClean="0"/>
              <a:t> </a:t>
            </a:r>
          </a:p>
          <a:p>
            <a:r>
              <a:rPr lang="de-DE" dirty="0" err="1" smtClean="0"/>
              <a:t>to</a:t>
            </a:r>
            <a:r>
              <a:rPr lang="de-DE" dirty="0" smtClean="0"/>
              <a:t> </a:t>
            </a:r>
            <a:r>
              <a:rPr lang="de-DE" dirty="0" err="1" smtClean="0"/>
              <a:t>insert</a:t>
            </a:r>
            <a:r>
              <a:rPr lang="de-DE" dirty="0" smtClean="0"/>
              <a:t> a </a:t>
            </a:r>
            <a:r>
              <a:rPr lang="de-DE" dirty="0" err="1" smtClean="0"/>
              <a:t>picture</a:t>
            </a:r>
            <a:endParaRPr lang="de-DE" dirty="0"/>
          </a:p>
        </p:txBody>
      </p:sp>
      <p:sp>
        <p:nvSpPr>
          <p:cNvPr id="12"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75659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a:p>
        </p:txBody>
      </p:sp>
      <p:sp>
        <p:nvSpPr>
          <p:cNvPr id="7" name="Textplatzhalter 6"/>
          <p:cNvSpPr>
            <a:spLocks noGrp="1"/>
          </p:cNvSpPr>
          <p:nvPr>
            <p:ph type="body" sz="quarter" idx="13"/>
          </p:nvPr>
        </p:nvSpPr>
        <p:spPr bwMode="gray">
          <a:xfrm>
            <a:off x="304803" y="1701807"/>
            <a:ext cx="8137525" cy="4391025"/>
          </a:xfrm>
          <a:prstGeom prst="rect">
            <a:avLst/>
          </a:prstGeom>
        </p:spPr>
        <p:txBody>
          <a:bodyPr/>
          <a:lstStyle>
            <a:lvl1pPr marL="511175" indent="-511175">
              <a:buClr>
                <a:schemeClr val="accent1"/>
              </a:buClr>
              <a:buFont typeface="+mj-lt"/>
              <a:buAutoNum type="romanUcPeriod"/>
              <a:defRPr sz="2000" b="0">
                <a:solidFill>
                  <a:srgbClr val="5F5F5F"/>
                </a:solidFill>
              </a:defRPr>
            </a:lvl1pPr>
            <a:lvl2pPr marL="511175" indent="-511175">
              <a:buClr>
                <a:schemeClr val="accent1"/>
              </a:buClr>
              <a:buSzPct val="70000"/>
              <a:buFont typeface="+mj-lt"/>
              <a:buAutoNum type="romanUcPeriod"/>
              <a:tabLst/>
              <a:defRPr sz="2000" b="0">
                <a:solidFill>
                  <a:srgbClr val="5F5F5F"/>
                </a:solidFill>
              </a:defRPr>
            </a:lvl2pPr>
            <a:lvl3pPr marL="511175" indent="-511175">
              <a:buClr>
                <a:schemeClr val="accent1"/>
              </a:buClr>
              <a:buSzPct val="70000"/>
              <a:buFont typeface="+mj-lt"/>
              <a:buAutoNum type="romanUcPeriod"/>
              <a:tabLst/>
              <a:defRPr sz="2000" b="0">
                <a:solidFill>
                  <a:srgbClr val="5F5F5F"/>
                </a:solidFill>
              </a:defRPr>
            </a:lvl3pPr>
            <a:lvl4pPr marL="511175" indent="-511175">
              <a:buClr>
                <a:schemeClr val="accent1"/>
              </a:buClr>
              <a:buSzPct val="70000"/>
              <a:buFont typeface="+mj-lt"/>
              <a:buAutoNum type="romanUcPeriod"/>
              <a:tabLst/>
              <a:defRPr sz="2000" b="0">
                <a:solidFill>
                  <a:srgbClr val="5F5F5F"/>
                </a:solidFill>
              </a:defRPr>
            </a:lvl4pPr>
            <a:lvl5pPr marL="511175" indent="-511175">
              <a:buClr>
                <a:schemeClr val="accent1"/>
              </a:buClr>
              <a:buSzPct val="70000"/>
              <a:buFont typeface="+mj-lt"/>
              <a:buAutoNum type="romanUcPeriod"/>
              <a:tabLst/>
              <a:defRPr sz="2000" b="0">
                <a:solidFill>
                  <a:srgbClr val="5F5F5F"/>
                </a:solidFill>
              </a:defRPr>
            </a:lvl5pPr>
            <a:lvl6pPr marL="365404" indent="-365404">
              <a:buClr>
                <a:schemeClr val="accent1"/>
              </a:buClr>
              <a:buSzPct val="70000"/>
              <a:buFont typeface="+mj-lt"/>
              <a:buAutoNum type="romanUcPeriod"/>
              <a:tabLst/>
              <a:defRPr sz="1350" b="0">
                <a:solidFill>
                  <a:schemeClr val="tx1"/>
                </a:solidFill>
              </a:defRPr>
            </a:lvl6pPr>
            <a:lvl7pPr marL="365404" indent="-365404">
              <a:buClr>
                <a:schemeClr val="accent1"/>
              </a:buClr>
              <a:buSzPct val="70000"/>
              <a:buFont typeface="+mj-lt"/>
              <a:buAutoNum type="romanUcPeriod"/>
              <a:tabLst/>
              <a:defRPr sz="1350" b="0">
                <a:solidFill>
                  <a:schemeClr val="tx1"/>
                </a:solidFill>
              </a:defRPr>
            </a:lvl7pPr>
            <a:lvl8pPr marL="365404" indent="-365404">
              <a:buClr>
                <a:schemeClr val="accent1"/>
              </a:buClr>
              <a:buSzPct val="70000"/>
              <a:buFont typeface="+mj-lt"/>
              <a:buAutoNum type="romanUcPeriod"/>
              <a:tabLst/>
              <a:defRPr sz="1350" b="0">
                <a:solidFill>
                  <a:schemeClr val="tx1"/>
                </a:solidFill>
              </a:defRPr>
            </a:lvl8pPr>
            <a:lvl9pPr marL="365404" indent="-365404">
              <a:buClr>
                <a:schemeClr val="accent1"/>
              </a:buClr>
              <a:buSzPct val="70000"/>
              <a:buFont typeface="+mj-lt"/>
              <a:buAutoNum type="romanUcPeriod"/>
              <a:tabLst/>
              <a:defRPr sz="1350" b="0">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8"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1779669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block">
    <p:spTree>
      <p:nvGrpSpPr>
        <p:cNvPr id="1" name=""/>
        <p:cNvGrpSpPr/>
        <p:nvPr/>
      </p:nvGrpSpPr>
      <p:grpSpPr>
        <a:xfrm>
          <a:off x="0" y="0"/>
          <a:ext cx="0" cy="0"/>
          <a:chOff x="0" y="0"/>
          <a:chExt cx="0" cy="0"/>
        </a:xfrm>
      </p:grpSpPr>
      <p:sp>
        <p:nvSpPr>
          <p:cNvPr id="2" name="Title 1"/>
          <p:cNvSpPr>
            <a:spLocks noGrp="1"/>
          </p:cNvSpPr>
          <p:nvPr>
            <p:ph type="title"/>
          </p:nvPr>
        </p:nvSpPr>
        <p:spPr>
          <a:xfrm>
            <a:off x="304800" y="347375"/>
            <a:ext cx="8134350" cy="612775"/>
          </a:xfrm>
          <a:prstGeom prst="rect">
            <a:avLst/>
          </a:prstGeom>
        </p:spPr>
        <p:txBody>
          <a:bodyPr/>
          <a:lstStyle/>
          <a:p>
            <a:r>
              <a:rPr lang="en-US" smtClean="0"/>
              <a:t>Click to edit Master title style</a:t>
            </a:r>
            <a:endParaRPr lang="en-US"/>
          </a:p>
        </p:txBody>
      </p:sp>
      <p:sp>
        <p:nvSpPr>
          <p:cNvPr id="8" name="Text Placeholder 7"/>
          <p:cNvSpPr>
            <a:spLocks noGrp="1"/>
          </p:cNvSpPr>
          <p:nvPr>
            <p:ph type="body" sz="quarter" idx="13" hasCustomPrompt="1"/>
          </p:nvPr>
        </p:nvSpPr>
        <p:spPr>
          <a:xfrm>
            <a:off x="304803" y="1783080"/>
            <a:ext cx="8134351" cy="1554480"/>
          </a:xfrm>
          <a:prstGeom prst="rect">
            <a:avLst/>
          </a:prstGeom>
        </p:spPr>
        <p:txBody>
          <a:bodyPr/>
          <a:lstStyle>
            <a:lvl1pPr>
              <a:defRPr sz="2400"/>
            </a:lvl1pPr>
          </a:lstStyle>
          <a:p>
            <a:pPr lvl="0"/>
            <a:r>
              <a:rPr lang="en-US" dirty="0" smtClean="0"/>
              <a:t>Insert text here</a:t>
            </a:r>
          </a:p>
        </p:txBody>
      </p:sp>
      <p:sp>
        <p:nvSpPr>
          <p:cNvPr id="7"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1802958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arge Pictur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lvl1pPr algn="l">
              <a:defRPr/>
            </a:lvl1pPr>
          </a:lstStyle>
          <a:p>
            <a:r>
              <a:rPr lang="en-US" dirty="0" smtClean="0"/>
              <a:t>Click to edit Master title style</a:t>
            </a:r>
            <a:endParaRPr lang="de-DE" dirty="0"/>
          </a:p>
        </p:txBody>
      </p:sp>
      <p:sp>
        <p:nvSpPr>
          <p:cNvPr id="7" name="Picture Placeholder 6"/>
          <p:cNvSpPr>
            <a:spLocks noGrp="1"/>
          </p:cNvSpPr>
          <p:nvPr>
            <p:ph type="pic" sz="quarter" idx="13" hasCustomPrompt="1"/>
          </p:nvPr>
        </p:nvSpPr>
        <p:spPr>
          <a:xfrm>
            <a:off x="0" y="1143000"/>
            <a:ext cx="9144000" cy="5130800"/>
          </a:xfrm>
          <a:prstGeom prst="rect">
            <a:avLst/>
          </a:prstGeom>
        </p:spPr>
        <p:txBody>
          <a:bodyPr anchor="ctr" anchorCtr="0"/>
          <a:lstStyle>
            <a:lvl1pPr marL="0" marR="0" indent="0" algn="ctr" defTabSz="617220" rtl="0" eaLnBrk="1" fontAlgn="auto" latinLnBrk="0" hangingPunct="1">
              <a:lnSpc>
                <a:spcPct val="100000"/>
              </a:lnSpc>
              <a:spcBef>
                <a:spcPts val="135"/>
              </a:spcBef>
              <a:spcAft>
                <a:spcPts val="135"/>
              </a:spcAft>
              <a:buClrTx/>
              <a:buSzTx/>
              <a:buFont typeface="Arial" pitchFamily="34" charset="0"/>
              <a:buNone/>
              <a:tabLst/>
              <a:defRPr/>
            </a:lvl1pPr>
          </a:lstStyle>
          <a:p>
            <a:r>
              <a:rPr lang="en-US" dirty="0" smtClean="0"/>
              <a:t>Click on the icon to insert a picture</a:t>
            </a:r>
          </a:p>
        </p:txBody>
      </p:sp>
      <p:sp>
        <p:nvSpPr>
          <p:cNvPr id="8"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2086503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04800" y="347375"/>
            <a:ext cx="8134350" cy="612775"/>
          </a:xfrm>
          <a:prstGeom prst="rect">
            <a:avLst/>
          </a:prstGeom>
        </p:spPr>
        <p:txBody>
          <a:bodyPr/>
          <a:lstStyle/>
          <a:p>
            <a:r>
              <a:rPr lang="en-US" smtClean="0"/>
              <a:t>Click to edit Master title style</a:t>
            </a:r>
            <a:endParaRPr lang="de-DE" dirty="0"/>
          </a:p>
        </p:txBody>
      </p:sp>
      <p:sp>
        <p:nvSpPr>
          <p:cNvPr id="7" name="Rechteck 6"/>
          <p:cNvSpPr/>
          <p:nvPr userDrawn="1"/>
        </p:nvSpPr>
        <p:spPr bwMode="gray">
          <a:xfrm>
            <a:off x="0" y="0"/>
            <a:ext cx="9144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spTree>
    <p:extLst>
      <p:ext uri="{BB962C8B-B14F-4D97-AF65-F5344CB8AC3E}">
        <p14:creationId xmlns:p14="http://schemas.microsoft.com/office/powerpoint/2010/main" val="2340675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screen Picture - Light">
    <p:bg>
      <p:bgRef idx="1001">
        <a:schemeClr val="bg1"/>
      </p:bgRef>
    </p:bg>
    <p:spTree>
      <p:nvGrpSpPr>
        <p:cNvPr id="1" name=""/>
        <p:cNvGrpSpPr/>
        <p:nvPr/>
      </p:nvGrpSpPr>
      <p:grpSpPr>
        <a:xfrm>
          <a:off x="0" y="0"/>
          <a:ext cx="0" cy="0"/>
          <a:chOff x="0" y="0"/>
          <a:chExt cx="0" cy="0"/>
        </a:xfrm>
      </p:grpSpPr>
      <p:sp>
        <p:nvSpPr>
          <p:cNvPr id="15" name="Picture Placeholder 14"/>
          <p:cNvSpPr>
            <a:spLocks noGrp="1"/>
          </p:cNvSpPr>
          <p:nvPr>
            <p:ph type="pic" sz="quarter" idx="13" hasCustomPrompt="1"/>
          </p:nvPr>
        </p:nvSpPr>
        <p:spPr>
          <a:xfrm>
            <a:off x="0" y="25400"/>
            <a:ext cx="9144000" cy="6858000"/>
          </a:xfrm>
          <a:prstGeom prst="rect">
            <a:avLst/>
          </a:prstGeom>
        </p:spPr>
        <p:txBody>
          <a:bodyPr lIns="2743200" rIns="2743200" anchor="ctr" anchorCtr="0"/>
          <a:lstStyle>
            <a:lvl1pPr algn="ctr">
              <a:defRPr>
                <a:solidFill>
                  <a:schemeClr val="bg2">
                    <a:lumMod val="75000"/>
                  </a:schemeClr>
                </a:solidFill>
              </a:defRPr>
            </a:lvl1pPr>
          </a:lstStyle>
          <a:p>
            <a:r>
              <a:rPr lang="en-US" dirty="0" smtClean="0"/>
              <a:t>Click on the icon to insert a picture</a:t>
            </a:r>
            <a:endParaRPr lang="en-US" dirty="0"/>
          </a:p>
        </p:txBody>
      </p:sp>
      <p:sp>
        <p:nvSpPr>
          <p:cNvPr id="8" name="Titel 1"/>
          <p:cNvSpPr>
            <a:spLocks noGrp="1"/>
          </p:cNvSpPr>
          <p:nvPr>
            <p:ph type="title"/>
          </p:nvPr>
        </p:nvSpPr>
        <p:spPr bwMode="gray">
          <a:xfrm>
            <a:off x="503238" y="4648230"/>
            <a:ext cx="5437188" cy="1069975"/>
          </a:xfrm>
          <a:prstGeom prst="rect">
            <a:avLst/>
          </a:prstGeom>
        </p:spPr>
        <p:txBody>
          <a:bodyPr anchor="b" anchorCtr="0"/>
          <a:lstStyle>
            <a:lvl1pPr>
              <a:defRPr sz="2160">
                <a:solidFill>
                  <a:schemeClr val="tx1"/>
                </a:solidFill>
              </a:defRPr>
            </a:lvl1pPr>
          </a:lstStyle>
          <a:p>
            <a:r>
              <a:rPr lang="en-US" dirty="0" smtClean="0"/>
              <a:t>Click to edit Master title style</a:t>
            </a:r>
            <a:endParaRPr lang="de-DE" dirty="0"/>
          </a:p>
        </p:txBody>
      </p:sp>
    </p:spTree>
    <p:extLst>
      <p:ext uri="{BB962C8B-B14F-4D97-AF65-F5344CB8AC3E}">
        <p14:creationId xmlns:p14="http://schemas.microsoft.com/office/powerpoint/2010/main" val="4182422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ll Blue divider slide ">
    <p:bg>
      <p:bgPr>
        <a:solidFill>
          <a:schemeClr val="bg1"/>
        </a:solidFill>
        <a:effectLst/>
      </p:bgPr>
    </p:bg>
    <p:spTree>
      <p:nvGrpSpPr>
        <p:cNvPr id="1" name=""/>
        <p:cNvGrpSpPr/>
        <p:nvPr/>
      </p:nvGrpSpPr>
      <p:grpSpPr>
        <a:xfrm>
          <a:off x="0" y="0"/>
          <a:ext cx="0" cy="0"/>
          <a:chOff x="0" y="0"/>
          <a:chExt cx="0" cy="0"/>
        </a:xfrm>
      </p:grpSpPr>
      <p:sp>
        <p:nvSpPr>
          <p:cNvPr id="7" name="fl" descr="                        Dell - Restricted - Confidential"/>
          <p:cNvSpPr txBox="1"/>
          <p:nvPr userDrawn="1"/>
        </p:nvSpPr>
        <p:spPr>
          <a:xfrm>
            <a:off x="0" y="6617886"/>
            <a:ext cx="9144000" cy="210058"/>
          </a:xfrm>
          <a:prstGeom prst="rect">
            <a:avLst/>
          </a:prstGeom>
          <a:solidFill>
            <a:schemeClr val="bg1"/>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sp>
        <p:nvSpPr>
          <p:cNvPr id="4"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6"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Tree>
    <p:extLst>
      <p:ext uri="{BB962C8B-B14F-4D97-AF65-F5344CB8AC3E}">
        <p14:creationId xmlns:p14="http://schemas.microsoft.com/office/powerpoint/2010/main" val="3610296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screen Picture - Dark">
    <p:bg>
      <p:bgRef idx="1001">
        <a:schemeClr val="bg1"/>
      </p:bgRef>
    </p:bg>
    <p:spTree>
      <p:nvGrpSpPr>
        <p:cNvPr id="1" name=""/>
        <p:cNvGrpSpPr/>
        <p:nvPr/>
      </p:nvGrpSpPr>
      <p:grpSpPr>
        <a:xfrm>
          <a:off x="0" y="0"/>
          <a:ext cx="0" cy="0"/>
          <a:chOff x="0" y="0"/>
          <a:chExt cx="0" cy="0"/>
        </a:xfrm>
      </p:grpSpPr>
      <p:sp>
        <p:nvSpPr>
          <p:cNvPr id="15" name="Picture Placeholder 14"/>
          <p:cNvSpPr>
            <a:spLocks noGrp="1"/>
          </p:cNvSpPr>
          <p:nvPr>
            <p:ph type="pic" sz="quarter" idx="13" hasCustomPrompt="1"/>
          </p:nvPr>
        </p:nvSpPr>
        <p:spPr>
          <a:xfrm>
            <a:off x="0" y="0"/>
            <a:ext cx="9144000" cy="6858000"/>
          </a:xfrm>
          <a:prstGeom prst="rect">
            <a:avLst/>
          </a:prstGeom>
        </p:spPr>
        <p:txBody>
          <a:bodyPr lIns="2743200" rIns="2743200" anchor="ctr" anchorCtr="0"/>
          <a:lstStyle>
            <a:lvl1pPr algn="ctr">
              <a:defRPr>
                <a:solidFill>
                  <a:schemeClr val="bg2">
                    <a:lumMod val="75000"/>
                  </a:schemeClr>
                </a:solidFill>
              </a:defRPr>
            </a:lvl1pPr>
          </a:lstStyle>
          <a:p>
            <a:r>
              <a:rPr lang="en-US" dirty="0" smtClean="0"/>
              <a:t>Click on the icon to insert a picture</a:t>
            </a:r>
            <a:endParaRPr lang="en-US" dirty="0"/>
          </a:p>
        </p:txBody>
      </p:sp>
      <p:sp>
        <p:nvSpPr>
          <p:cNvPr id="20" name="Titel 1"/>
          <p:cNvSpPr>
            <a:spLocks noGrp="1"/>
          </p:cNvSpPr>
          <p:nvPr>
            <p:ph type="title"/>
          </p:nvPr>
        </p:nvSpPr>
        <p:spPr bwMode="gray">
          <a:xfrm>
            <a:off x="503238" y="4648230"/>
            <a:ext cx="5437188" cy="1069975"/>
          </a:xfrm>
          <a:prstGeom prst="rect">
            <a:avLst/>
          </a:prstGeom>
        </p:spPr>
        <p:txBody>
          <a:bodyPr anchor="b" anchorCtr="0"/>
          <a:lstStyle>
            <a:lvl1pPr>
              <a:defRPr sz="2160">
                <a:solidFill>
                  <a:schemeClr val="tx1"/>
                </a:solidFill>
              </a:defRPr>
            </a:lvl1pPr>
          </a:lstStyle>
          <a:p>
            <a:r>
              <a:rPr lang="en-US" dirty="0" smtClean="0"/>
              <a:t>Click to edit Master title style</a:t>
            </a:r>
            <a:endParaRPr lang="de-DE"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4012199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viderslide Blue">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2742279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slide Teal">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3987772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derslide Orange">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989974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derslide Dark Orange">
    <p:bg>
      <p:bgPr>
        <a:solidFill>
          <a:schemeClr val="accent4"/>
        </a:solidFill>
        <a:effectLst/>
      </p:bgPr>
    </p:bg>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1993873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Dividerslide Black">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5400"/>
            <a:ext cx="9144000" cy="6858000"/>
          </a:xfrm>
          <a:prstGeom prst="rect">
            <a:avLst/>
          </a:prstGeom>
        </p:spPr>
      </p:pic>
      <p:sp>
        <p:nvSpPr>
          <p:cNvPr id="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1733537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ividerslide Dark Grey">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6200"/>
            <a:ext cx="9144000" cy="6858000"/>
          </a:xfrm>
          <a:prstGeom prst="rect">
            <a:avLst/>
          </a:prstGeom>
        </p:spPr>
      </p:pic>
      <p:sp>
        <p:nvSpPr>
          <p:cNvPr id="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2496035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Dividerslide Grey">
    <p:bg>
      <p:bgPr>
        <a:solidFill>
          <a:schemeClr val="accent4"/>
        </a:solidFill>
        <a:effectLst/>
      </p:bgPr>
    </p:bg>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47" y="-41443"/>
            <a:ext cx="9144000" cy="6858000"/>
          </a:xfrm>
          <a:prstGeom prst="rect">
            <a:avLst/>
          </a:prstGeom>
        </p:spPr>
      </p:pic>
      <p:sp>
        <p:nvSpPr>
          <p:cNvPr id="3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bg1"/>
                </a:solidFill>
              </a:defRPr>
            </a:lvl1pPr>
          </a:lstStyle>
          <a:p>
            <a:r>
              <a:rPr lang="en-US" smtClean="0"/>
              <a:t>Click to edit Master title style</a:t>
            </a:r>
            <a:endParaRPr lang="de-DE" dirty="0"/>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04394" y="6487925"/>
            <a:ext cx="1224844" cy="243840"/>
          </a:xfrm>
          <a:prstGeom prst="rect">
            <a:avLst/>
          </a:prstGeom>
        </p:spPr>
      </p:pic>
    </p:spTree>
    <p:extLst>
      <p:ext uri="{BB962C8B-B14F-4D97-AF65-F5344CB8AC3E}">
        <p14:creationId xmlns:p14="http://schemas.microsoft.com/office/powerpoint/2010/main" val="3971740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Dividerslide Light Grey">
    <p:spTree>
      <p:nvGrpSpPr>
        <p:cNvPr id="1" name=""/>
        <p:cNvGrpSpPr/>
        <p:nvPr/>
      </p:nvGrpSpPr>
      <p:grpSpPr>
        <a:xfrm>
          <a:off x="0" y="0"/>
          <a:ext cx="0" cy="0"/>
          <a:chOff x="0" y="0"/>
          <a:chExt cx="0" cy="0"/>
        </a:xfrm>
      </p:grpSpPr>
      <p:sp>
        <p:nvSpPr>
          <p:cNvPr id="7" name="Rechteck 6"/>
          <p:cNvSpPr/>
          <p:nvPr userDrawn="1"/>
        </p:nvSpPr>
        <p:spPr bwMode="gray">
          <a:xfrm>
            <a:off x="0" y="0"/>
            <a:ext cx="9144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1909" fontAlgn="auto">
              <a:spcBef>
                <a:spcPts val="0"/>
              </a:spcBef>
              <a:spcAft>
                <a:spcPts val="0"/>
              </a:spcAft>
            </a:pPr>
            <a:endParaRPr lang="de-DE" sz="1215">
              <a:solidFill>
                <a:srgbClr val="FFFFFF"/>
              </a:solidFill>
            </a:endParaRPr>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a:xfrm>
            <a:off x="0" y="-25400"/>
            <a:ext cx="9144000" cy="6858000"/>
          </a:xfrm>
          <a:prstGeom prst="rect">
            <a:avLst/>
          </a:prstGeom>
        </p:spPr>
      </p:pic>
      <p:sp>
        <p:nvSpPr>
          <p:cNvPr id="32" name="Titel 1"/>
          <p:cNvSpPr>
            <a:spLocks noGrp="1"/>
          </p:cNvSpPr>
          <p:nvPr>
            <p:ph type="ctrTitle"/>
          </p:nvPr>
        </p:nvSpPr>
        <p:spPr bwMode="gray">
          <a:xfrm>
            <a:off x="503238" y="2060603"/>
            <a:ext cx="8137526" cy="2592561"/>
          </a:xfrm>
          <a:prstGeom prst="rect">
            <a:avLst/>
          </a:prstGeom>
        </p:spPr>
        <p:txBody>
          <a:bodyPr anchor="b"/>
          <a:lstStyle>
            <a:lvl1pPr algn="ctr">
              <a:lnSpc>
                <a:spcPct val="95000"/>
              </a:lnSpc>
              <a:defRPr sz="3645">
                <a:solidFill>
                  <a:schemeClr val="accent1"/>
                </a:solidFill>
              </a:defRPr>
            </a:lvl1pPr>
          </a:lstStyle>
          <a:p>
            <a:r>
              <a:rPr lang="en-US" dirty="0" smtClean="0"/>
              <a:t>Click to edit Master title style</a:t>
            </a:r>
            <a:endParaRPr lang="de-DE" dirty="0"/>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696214" y="6491757"/>
            <a:ext cx="1246037" cy="243840"/>
          </a:xfrm>
          <a:prstGeom prst="rect">
            <a:avLst/>
          </a:prstGeom>
        </p:spPr>
      </p:pic>
    </p:spTree>
    <p:extLst>
      <p:ext uri="{BB962C8B-B14F-4D97-AF65-F5344CB8AC3E}">
        <p14:creationId xmlns:p14="http://schemas.microsoft.com/office/powerpoint/2010/main" val="1379593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End - Thank You">
    <p:spTree>
      <p:nvGrpSpPr>
        <p:cNvPr id="1" name=""/>
        <p:cNvGrpSpPr/>
        <p:nvPr/>
      </p:nvGrpSpPr>
      <p:grpSpPr>
        <a:xfrm>
          <a:off x="0" y="0"/>
          <a:ext cx="0" cy="0"/>
          <a:chOff x="0" y="0"/>
          <a:chExt cx="0" cy="0"/>
        </a:xfrm>
      </p:grpSpPr>
      <p:sp>
        <p:nvSpPr>
          <p:cNvPr id="8" name="Rechteck 7"/>
          <p:cNvSpPr/>
          <p:nvPr userDrawn="1"/>
        </p:nvSpPr>
        <p:spPr bwMode="gray">
          <a:xfrm>
            <a:off x="503238" y="4184664"/>
            <a:ext cx="8137527" cy="1908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600" tIns="48600" rIns="48600" bIns="48600" rtlCol="0" anchor="ctr"/>
          <a:lstStyle/>
          <a:p>
            <a:pPr algn="ctr" defTabSz="641909" fontAlgn="auto">
              <a:spcBef>
                <a:spcPts val="203"/>
              </a:spcBef>
              <a:spcAft>
                <a:spcPts val="135"/>
              </a:spcAft>
            </a:pPr>
            <a:endParaRPr lang="de-DE" sz="1215" dirty="0" err="1">
              <a:solidFill>
                <a:srgbClr val="01A1E7"/>
              </a:solidFill>
            </a:endParaRPr>
          </a:p>
        </p:txBody>
      </p:sp>
      <p:sp>
        <p:nvSpPr>
          <p:cNvPr id="27" name="Titel 1"/>
          <p:cNvSpPr txBox="1">
            <a:spLocks/>
          </p:cNvSpPr>
          <p:nvPr userDrawn="1"/>
        </p:nvSpPr>
        <p:spPr bwMode="gray">
          <a:xfrm>
            <a:off x="503238" y="2951337"/>
            <a:ext cx="8137527" cy="1038224"/>
          </a:xfrm>
          <a:prstGeom prst="rect">
            <a:avLst/>
          </a:prstGeom>
        </p:spPr>
        <p:txBody>
          <a:bodyPr vert="horz" lIns="0" tIns="0" rIns="0" bIns="0" rtlCol="0" anchor="b">
            <a:noAutofit/>
          </a:bodyPr>
          <a:lstStyle>
            <a:lvl1pPr algn="ctr" defTabSz="914400" rtl="0" eaLnBrk="1" latinLnBrk="0" hangingPunct="1">
              <a:spcBef>
                <a:spcPct val="0"/>
              </a:spcBef>
              <a:buNone/>
              <a:defRPr sz="6000" b="1" kern="1200">
                <a:solidFill>
                  <a:schemeClr val="accent1"/>
                </a:solidFill>
                <a:latin typeface="+mj-lt"/>
                <a:ea typeface="+mj-ea"/>
                <a:cs typeface="+mj-cs"/>
              </a:defRPr>
            </a:lvl1pPr>
          </a:lstStyle>
          <a:p>
            <a:pPr fontAlgn="auto">
              <a:spcAft>
                <a:spcPts val="0"/>
              </a:spcAft>
            </a:pPr>
            <a:r>
              <a:rPr lang="de-DE" sz="2800" dirty="0" err="1" smtClean="0">
                <a:solidFill>
                  <a:srgbClr val="01A1E7"/>
                </a:solidFill>
              </a:rPr>
              <a:t>Thank</a:t>
            </a:r>
            <a:r>
              <a:rPr lang="de-DE" sz="2800" dirty="0" smtClean="0">
                <a:solidFill>
                  <a:srgbClr val="01A1E7"/>
                </a:solidFill>
              </a:rPr>
              <a:t> </a:t>
            </a:r>
            <a:r>
              <a:rPr lang="de-DE" sz="2800" dirty="0" err="1" smtClean="0">
                <a:solidFill>
                  <a:srgbClr val="01A1E7"/>
                </a:solidFill>
              </a:rPr>
              <a:t>you</a:t>
            </a:r>
            <a:r>
              <a:rPr lang="de-DE" sz="2800" dirty="0" smtClean="0">
                <a:solidFill>
                  <a:srgbClr val="01A1E7"/>
                </a:solidFill>
              </a:rPr>
              <a:t>!</a:t>
            </a:r>
            <a:endParaRPr lang="de-DE" sz="2800" dirty="0">
              <a:solidFill>
                <a:srgbClr val="01A1E7"/>
              </a:solidFill>
            </a:endParaRPr>
          </a:p>
        </p:txBody>
      </p:sp>
      <p:sp>
        <p:nvSpPr>
          <p:cNvPr id="4" name="Bildplatzhalter 3"/>
          <p:cNvSpPr>
            <a:spLocks noGrp="1"/>
          </p:cNvSpPr>
          <p:nvPr>
            <p:ph type="pic" sz="quarter" idx="10" hasCustomPrompt="1"/>
          </p:nvPr>
        </p:nvSpPr>
        <p:spPr bwMode="gray">
          <a:xfrm>
            <a:off x="3801535" y="1397000"/>
            <a:ext cx="1540934" cy="1569664"/>
          </a:xfrm>
          <a:prstGeom prst="rect">
            <a:avLst/>
          </a:prstGeom>
        </p:spPr>
        <p:txBody>
          <a:bodyPr anchor="ctr"/>
          <a:lstStyle>
            <a:lvl1pPr algn="ctr">
              <a:defRPr sz="1440" i="1" baseline="0">
                <a:solidFill>
                  <a:schemeClr val="bg2"/>
                </a:solidFill>
              </a:defRPr>
            </a:lvl1pPr>
          </a:lstStyle>
          <a:p>
            <a:r>
              <a:rPr lang="de-DE" dirty="0" smtClean="0"/>
              <a:t>Click </a:t>
            </a:r>
            <a:r>
              <a:rPr lang="de-DE" dirty="0" err="1" smtClean="0"/>
              <a:t>to</a:t>
            </a:r>
            <a:r>
              <a:rPr lang="de-DE" dirty="0" smtClean="0"/>
              <a:t> </a:t>
            </a:r>
            <a:br>
              <a:rPr lang="de-DE" dirty="0" smtClean="0"/>
            </a:br>
            <a:r>
              <a:rPr lang="de-DE" dirty="0" err="1" smtClean="0"/>
              <a:t>insert</a:t>
            </a:r>
            <a:r>
              <a:rPr lang="de-DE" dirty="0" smtClean="0"/>
              <a:t> a </a:t>
            </a:r>
            <a:r>
              <a:rPr lang="de-DE" dirty="0" err="1" smtClean="0"/>
              <a:t>photo</a:t>
            </a:r>
            <a:r>
              <a:rPr lang="de-DE" dirty="0" smtClean="0"/>
              <a:t/>
            </a:r>
            <a:br>
              <a:rPr lang="de-DE" dirty="0" smtClean="0"/>
            </a:br>
            <a:r>
              <a:rPr lang="de-DE" dirty="0" err="1" smtClean="0"/>
              <a:t>of</a:t>
            </a:r>
            <a:r>
              <a:rPr lang="de-DE" dirty="0" smtClean="0"/>
              <a:t> </a:t>
            </a:r>
            <a:r>
              <a:rPr lang="de-DE" dirty="0" err="1" smtClean="0"/>
              <a:t>the</a:t>
            </a:r>
            <a:r>
              <a:rPr lang="de-DE" dirty="0" smtClean="0"/>
              <a:t> </a:t>
            </a:r>
            <a:r>
              <a:rPr lang="de-DE" dirty="0" err="1" smtClean="0"/>
              <a:t>presenter</a:t>
            </a:r>
            <a:endParaRPr lang="de-DE" dirty="0"/>
          </a:p>
        </p:txBody>
      </p:sp>
      <p:sp>
        <p:nvSpPr>
          <p:cNvPr id="16" name="Textplatzhalter 15"/>
          <p:cNvSpPr>
            <a:spLocks noGrp="1"/>
          </p:cNvSpPr>
          <p:nvPr>
            <p:ph type="body" sz="quarter" idx="11" hasCustomPrompt="1"/>
          </p:nvPr>
        </p:nvSpPr>
        <p:spPr bwMode="gray">
          <a:xfrm>
            <a:off x="2590995" y="3925386"/>
            <a:ext cx="3960618" cy="1486185"/>
          </a:xfrm>
          <a:prstGeom prst="rect">
            <a:avLst/>
          </a:prstGeom>
        </p:spPr>
        <p:txBody>
          <a:bodyPr lIns="360000" tIns="108000" rIns="144000" bIns="108000" anchor="t"/>
          <a:lstStyle>
            <a:lvl1pPr marL="0" indent="0" algn="ctr">
              <a:buFont typeface="Arial" pitchFamily="34" charset="0"/>
              <a:buNone/>
              <a:defRPr sz="1080" b="0" baseline="0">
                <a:solidFill>
                  <a:schemeClr val="bg2"/>
                </a:solidFill>
              </a:defRPr>
            </a:lvl1pPr>
            <a:lvl2pPr marL="0" indent="0" algn="r">
              <a:buFont typeface="Arial" pitchFamily="34" charset="0"/>
              <a:buNone/>
              <a:defRPr sz="1080" b="0">
                <a:solidFill>
                  <a:schemeClr val="bg2"/>
                </a:solidFill>
              </a:defRPr>
            </a:lvl2pPr>
            <a:lvl3pPr marL="0" indent="0" algn="r">
              <a:buNone/>
              <a:defRPr sz="1080" b="0">
                <a:solidFill>
                  <a:schemeClr val="bg2"/>
                </a:solidFill>
              </a:defRPr>
            </a:lvl3pPr>
            <a:lvl4pPr marL="0" indent="0" algn="r">
              <a:buNone/>
              <a:defRPr sz="1080" b="0">
                <a:solidFill>
                  <a:schemeClr val="bg2"/>
                </a:solidFill>
              </a:defRPr>
            </a:lvl4pPr>
            <a:lvl5pPr marL="0" indent="0" algn="r">
              <a:buFont typeface="Arial" pitchFamily="34" charset="0"/>
              <a:buNone/>
              <a:defRPr sz="1080" b="0">
                <a:solidFill>
                  <a:schemeClr val="bg2"/>
                </a:solidFill>
              </a:defRPr>
            </a:lvl5pPr>
            <a:lvl6pPr marL="0" indent="0" algn="r">
              <a:buFont typeface="Arial" pitchFamily="34" charset="0"/>
              <a:buNone/>
              <a:defRPr sz="1080" b="0">
                <a:solidFill>
                  <a:schemeClr val="bg2"/>
                </a:solidFill>
              </a:defRPr>
            </a:lvl6pPr>
            <a:lvl7pPr marL="0" indent="0" algn="r">
              <a:buFont typeface="Arial" pitchFamily="34" charset="0"/>
              <a:buNone/>
              <a:defRPr sz="1080" b="0">
                <a:solidFill>
                  <a:schemeClr val="bg2"/>
                </a:solidFill>
              </a:defRPr>
            </a:lvl7pPr>
            <a:lvl8pPr marL="0" indent="0" algn="r">
              <a:buFont typeface="Arial" pitchFamily="34" charset="0"/>
              <a:buNone/>
              <a:defRPr sz="1080" b="0">
                <a:solidFill>
                  <a:schemeClr val="bg2"/>
                </a:solidFill>
              </a:defRPr>
            </a:lvl8pPr>
            <a:lvl9pPr marL="0" indent="0" algn="r">
              <a:buFont typeface="Arial" pitchFamily="34" charset="0"/>
              <a:buNone/>
              <a:defRPr sz="1080" b="0">
                <a:solidFill>
                  <a:schemeClr val="bg2"/>
                </a:solidFill>
              </a:defRPr>
            </a:lvl9pPr>
          </a:lstStyle>
          <a:p>
            <a:pPr lvl="0"/>
            <a:r>
              <a:rPr lang="de-DE" dirty="0" smtClean="0"/>
              <a:t>Type in </a:t>
            </a:r>
            <a:r>
              <a:rPr lang="de-DE" dirty="0" err="1" smtClean="0"/>
              <a:t>your</a:t>
            </a:r>
            <a:r>
              <a:rPr lang="de-DE" dirty="0" smtClean="0"/>
              <a:t> </a:t>
            </a:r>
            <a:r>
              <a:rPr lang="de-DE" dirty="0" err="1" smtClean="0"/>
              <a:t>contact</a:t>
            </a:r>
            <a:r>
              <a:rPr lang="de-DE" dirty="0" smtClean="0"/>
              <a:t> </a:t>
            </a:r>
            <a:r>
              <a:rPr lang="de-DE" dirty="0" err="1" smtClean="0"/>
              <a:t>details</a:t>
            </a:r>
            <a:endParaRPr lang="de-DE" dirty="0"/>
          </a:p>
        </p:txBody>
      </p:sp>
      <p:sp>
        <p:nvSpPr>
          <p:cNvPr id="49" name="Datumsplatzhalter 3"/>
          <p:cNvSpPr>
            <a:spLocks noGrp="1"/>
          </p:cNvSpPr>
          <p:nvPr>
            <p:ph type="dt" sz="half" idx="2"/>
          </p:nvPr>
        </p:nvSpPr>
        <p:spPr bwMode="gray">
          <a:xfrm>
            <a:off x="114302" y="6633357"/>
            <a:ext cx="1668463" cy="224643"/>
          </a:xfrm>
          <a:prstGeom prst="rect">
            <a:avLst/>
          </a:prstGeom>
        </p:spPr>
        <p:txBody>
          <a:bodyPr vert="horz" lIns="0" tIns="18000" rIns="0" bIns="0" rtlCol="0" anchor="t"/>
          <a:lstStyle>
            <a:lvl1pPr algn="r">
              <a:defRPr sz="608">
                <a:solidFill>
                  <a:schemeClr val="bg2"/>
                </a:solidFill>
              </a:defRPr>
            </a:lvl1pPr>
          </a:lstStyle>
          <a:p>
            <a:pPr defTabSz="641909" fontAlgn="auto">
              <a:spcBef>
                <a:spcPts val="0"/>
              </a:spcBef>
              <a:spcAft>
                <a:spcPts val="0"/>
              </a:spcAft>
            </a:pPr>
            <a:r>
              <a:rPr lang="en-US" dirty="0" smtClean="0">
                <a:solidFill>
                  <a:srgbClr val="505050"/>
                </a:solidFill>
                <a:latin typeface="Trebuchet MS"/>
              </a:rPr>
              <a:t>© Electric Cloud  |  </a:t>
            </a:r>
            <a:r>
              <a:rPr lang="en-US" dirty="0" err="1" smtClean="0">
                <a:solidFill>
                  <a:srgbClr val="505050"/>
                </a:solidFill>
                <a:latin typeface="Trebuchet MS"/>
              </a:rPr>
              <a:t>www.electriccloud.com</a:t>
            </a:r>
            <a:endParaRPr lang="de-DE" dirty="0">
              <a:solidFill>
                <a:srgbClr val="505050"/>
              </a:solidFill>
              <a:latin typeface="Trebuchet MS"/>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96214" y="6491757"/>
            <a:ext cx="1246037" cy="243840"/>
          </a:xfrm>
          <a:prstGeom prst="rect">
            <a:avLst/>
          </a:prstGeom>
        </p:spPr>
      </p:pic>
      <p:sp>
        <p:nvSpPr>
          <p:cNvPr id="10" name="Textfeld 30"/>
          <p:cNvSpPr txBox="1"/>
          <p:nvPr userDrawn="1"/>
        </p:nvSpPr>
        <p:spPr bwMode="gray">
          <a:xfrm>
            <a:off x="274783" y="6506646"/>
            <a:ext cx="1465674" cy="206279"/>
          </a:xfrm>
          <a:prstGeom prst="rect">
            <a:avLst/>
          </a:prstGeom>
          <a:noFill/>
        </p:spPr>
        <p:txBody>
          <a:bodyPr wrap="square" lIns="0" tIns="0" rIns="0" bIns="0" numCol="1" rtlCol="0">
            <a:noAutofit/>
          </a:bodyPr>
          <a:lstStyle/>
          <a:p>
            <a:pPr defTabSz="641909" fontAlgn="auto">
              <a:spcBef>
                <a:spcPts val="0"/>
              </a:spcBef>
              <a:spcAft>
                <a:spcPts val="270"/>
              </a:spcAft>
            </a:pPr>
            <a:r>
              <a:rPr lang="de-DE" sz="600" dirty="0" err="1">
                <a:solidFill>
                  <a:srgbClr val="111111">
                    <a:lumMod val="75000"/>
                    <a:lumOff val="25000"/>
                  </a:srgbClr>
                </a:solidFill>
                <a:latin typeface="Trebuchet MS"/>
              </a:rPr>
              <a:t>blog</a:t>
            </a:r>
            <a:r>
              <a:rPr lang="de-DE" sz="600" dirty="0">
                <a:solidFill>
                  <a:srgbClr val="111111">
                    <a:lumMod val="75000"/>
                    <a:lumOff val="25000"/>
                  </a:srgbClr>
                </a:solidFill>
                <a:latin typeface="Trebuchet MS"/>
              </a:rPr>
              <a:t>: </a:t>
            </a:r>
            <a:r>
              <a:rPr lang="de-DE" sz="600" b="1" dirty="0" err="1">
                <a:solidFill>
                  <a:srgbClr val="111111">
                    <a:lumMod val="75000"/>
                    <a:lumOff val="25000"/>
                  </a:srgbClr>
                </a:solidFill>
                <a:latin typeface="Trebuchet MS"/>
              </a:rPr>
              <a:t>electric-cloud.com</a:t>
            </a:r>
            <a:r>
              <a:rPr lang="de-DE" sz="600" b="1" dirty="0">
                <a:solidFill>
                  <a:srgbClr val="111111">
                    <a:lumMod val="75000"/>
                    <a:lumOff val="25000"/>
                  </a:srgbClr>
                </a:solidFill>
                <a:latin typeface="Trebuchet MS"/>
              </a:rPr>
              <a:t>/</a:t>
            </a:r>
            <a:r>
              <a:rPr lang="de-DE" sz="600" b="1" dirty="0" err="1">
                <a:solidFill>
                  <a:srgbClr val="111111">
                    <a:lumMod val="75000"/>
                    <a:lumOff val="25000"/>
                  </a:srgbClr>
                </a:solidFill>
                <a:latin typeface="Trebuchet MS"/>
              </a:rPr>
              <a:t>blog</a:t>
            </a:r>
            <a:endParaRPr lang="de-DE" sz="600" b="1" dirty="0">
              <a:solidFill>
                <a:srgbClr val="111111">
                  <a:lumMod val="75000"/>
                  <a:lumOff val="25000"/>
                </a:srgbClr>
              </a:solidFill>
              <a:latin typeface="Trebuchet MS"/>
            </a:endParaRPr>
          </a:p>
        </p:txBody>
      </p:sp>
      <p:sp>
        <p:nvSpPr>
          <p:cNvPr id="12" name="Textfeld 31"/>
          <p:cNvSpPr txBox="1"/>
          <p:nvPr userDrawn="1"/>
        </p:nvSpPr>
        <p:spPr bwMode="gray">
          <a:xfrm>
            <a:off x="274784" y="6358801"/>
            <a:ext cx="1587909" cy="147816"/>
          </a:xfrm>
          <a:prstGeom prst="rect">
            <a:avLst/>
          </a:prstGeom>
          <a:noFill/>
        </p:spPr>
        <p:txBody>
          <a:bodyPr wrap="square" lIns="0" tIns="0" rIns="0" bIns="0" numCol="1" rtlCol="0">
            <a:noAutofit/>
          </a:bodyPr>
          <a:lstStyle/>
          <a:p>
            <a:pPr defTabSz="641909" fontAlgn="auto">
              <a:spcBef>
                <a:spcPts val="0"/>
              </a:spcBef>
              <a:spcAft>
                <a:spcPts val="270"/>
              </a:spcAft>
            </a:pPr>
            <a:r>
              <a:rPr lang="de-DE" sz="600" dirty="0" err="1">
                <a:solidFill>
                  <a:srgbClr val="111111">
                    <a:lumMod val="75000"/>
                    <a:lumOff val="25000"/>
                  </a:srgbClr>
                </a:solidFill>
                <a:latin typeface="Trebuchet MS"/>
              </a:rPr>
              <a:t>twitter</a:t>
            </a:r>
            <a:r>
              <a:rPr lang="de-DE" sz="600" dirty="0">
                <a:solidFill>
                  <a:srgbClr val="111111">
                    <a:lumMod val="75000"/>
                    <a:lumOff val="25000"/>
                  </a:srgbClr>
                </a:solidFill>
                <a:latin typeface="Trebuchet MS"/>
              </a:rPr>
              <a:t>: </a:t>
            </a:r>
            <a:r>
              <a:rPr lang="de-DE" sz="600" b="1" dirty="0">
                <a:solidFill>
                  <a:srgbClr val="111111">
                    <a:lumMod val="75000"/>
                    <a:lumOff val="25000"/>
                  </a:srgbClr>
                </a:solidFill>
                <a:latin typeface="Trebuchet MS"/>
              </a:rPr>
              <a:t>@electriccloud</a:t>
            </a:r>
          </a:p>
        </p:txBody>
      </p:sp>
    </p:spTree>
    <p:extLst>
      <p:ext uri="{BB962C8B-B14F-4D97-AF65-F5344CB8AC3E}">
        <p14:creationId xmlns:p14="http://schemas.microsoft.com/office/powerpoint/2010/main" val="2369683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086314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End - QA">
    <p:spTree>
      <p:nvGrpSpPr>
        <p:cNvPr id="1" name=""/>
        <p:cNvGrpSpPr/>
        <p:nvPr/>
      </p:nvGrpSpPr>
      <p:grpSpPr>
        <a:xfrm>
          <a:off x="0" y="0"/>
          <a:ext cx="0" cy="0"/>
          <a:chOff x="0" y="0"/>
          <a:chExt cx="0" cy="0"/>
        </a:xfrm>
      </p:grpSpPr>
      <p:sp>
        <p:nvSpPr>
          <p:cNvPr id="8" name="Rechteck 7"/>
          <p:cNvSpPr/>
          <p:nvPr userDrawn="1"/>
        </p:nvSpPr>
        <p:spPr bwMode="gray">
          <a:xfrm>
            <a:off x="503238" y="4184664"/>
            <a:ext cx="8137527" cy="1908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600" tIns="48600" rIns="48600" bIns="48600" rtlCol="0" anchor="ctr"/>
          <a:lstStyle/>
          <a:p>
            <a:pPr algn="ctr" defTabSz="641909" fontAlgn="auto">
              <a:spcBef>
                <a:spcPts val="203"/>
              </a:spcBef>
              <a:spcAft>
                <a:spcPts val="135"/>
              </a:spcAft>
            </a:pPr>
            <a:endParaRPr lang="de-DE" sz="1215" dirty="0" err="1">
              <a:solidFill>
                <a:srgbClr val="01A1E7"/>
              </a:solidFill>
            </a:endParaRPr>
          </a:p>
        </p:txBody>
      </p:sp>
      <p:sp>
        <p:nvSpPr>
          <p:cNvPr id="27" name="Titel 1"/>
          <p:cNvSpPr txBox="1">
            <a:spLocks/>
          </p:cNvSpPr>
          <p:nvPr userDrawn="1"/>
        </p:nvSpPr>
        <p:spPr bwMode="gray">
          <a:xfrm>
            <a:off x="503238" y="2951337"/>
            <a:ext cx="8137527" cy="1038224"/>
          </a:xfrm>
          <a:prstGeom prst="rect">
            <a:avLst/>
          </a:prstGeom>
        </p:spPr>
        <p:txBody>
          <a:bodyPr vert="horz" lIns="0" tIns="0" rIns="0" bIns="0" rtlCol="0" anchor="b">
            <a:noAutofit/>
          </a:bodyPr>
          <a:lstStyle>
            <a:lvl1pPr algn="ctr" defTabSz="914400" rtl="0" eaLnBrk="1" latinLnBrk="0" hangingPunct="1">
              <a:spcBef>
                <a:spcPct val="0"/>
              </a:spcBef>
              <a:buNone/>
              <a:defRPr sz="6000" b="1" kern="1200">
                <a:solidFill>
                  <a:schemeClr val="accent1"/>
                </a:solidFill>
                <a:latin typeface="+mj-lt"/>
                <a:ea typeface="+mj-ea"/>
                <a:cs typeface="+mj-cs"/>
              </a:defRPr>
            </a:lvl1pPr>
          </a:lstStyle>
          <a:p>
            <a:pPr fontAlgn="auto">
              <a:spcAft>
                <a:spcPts val="0"/>
              </a:spcAft>
            </a:pPr>
            <a:r>
              <a:rPr lang="de-DE" sz="2800" dirty="0" smtClean="0">
                <a:solidFill>
                  <a:srgbClr val="01A1E7"/>
                </a:solidFill>
              </a:rPr>
              <a:t>Q&amp;A</a:t>
            </a:r>
            <a:endParaRPr lang="de-DE" sz="2800" dirty="0">
              <a:solidFill>
                <a:srgbClr val="01A1E7"/>
              </a:solidFill>
            </a:endParaRPr>
          </a:p>
        </p:txBody>
      </p:sp>
      <p:sp>
        <p:nvSpPr>
          <p:cNvPr id="4" name="Bildplatzhalter 3"/>
          <p:cNvSpPr>
            <a:spLocks noGrp="1"/>
          </p:cNvSpPr>
          <p:nvPr>
            <p:ph type="pic" sz="quarter" idx="10" hasCustomPrompt="1"/>
          </p:nvPr>
        </p:nvSpPr>
        <p:spPr bwMode="gray">
          <a:xfrm>
            <a:off x="3801535" y="1397000"/>
            <a:ext cx="1540934" cy="1569664"/>
          </a:xfrm>
          <a:prstGeom prst="rect">
            <a:avLst/>
          </a:prstGeom>
        </p:spPr>
        <p:txBody>
          <a:bodyPr anchor="ctr"/>
          <a:lstStyle>
            <a:lvl1pPr algn="ctr">
              <a:defRPr sz="1440" i="1" baseline="0">
                <a:solidFill>
                  <a:schemeClr val="bg2"/>
                </a:solidFill>
              </a:defRPr>
            </a:lvl1pPr>
          </a:lstStyle>
          <a:p>
            <a:r>
              <a:rPr lang="de-DE" dirty="0" smtClean="0"/>
              <a:t>Click </a:t>
            </a:r>
            <a:r>
              <a:rPr lang="de-DE" dirty="0" err="1" smtClean="0"/>
              <a:t>to</a:t>
            </a:r>
            <a:r>
              <a:rPr lang="de-DE" dirty="0" smtClean="0"/>
              <a:t> </a:t>
            </a:r>
            <a:br>
              <a:rPr lang="de-DE" dirty="0" smtClean="0"/>
            </a:br>
            <a:r>
              <a:rPr lang="de-DE" dirty="0" err="1" smtClean="0"/>
              <a:t>insert</a:t>
            </a:r>
            <a:r>
              <a:rPr lang="de-DE" dirty="0" smtClean="0"/>
              <a:t> a </a:t>
            </a:r>
            <a:r>
              <a:rPr lang="de-DE" dirty="0" err="1" smtClean="0"/>
              <a:t>photo</a:t>
            </a:r>
            <a:r>
              <a:rPr lang="de-DE" dirty="0" smtClean="0"/>
              <a:t/>
            </a:r>
            <a:br>
              <a:rPr lang="de-DE" dirty="0" smtClean="0"/>
            </a:br>
            <a:r>
              <a:rPr lang="de-DE" dirty="0" err="1" smtClean="0"/>
              <a:t>of</a:t>
            </a:r>
            <a:r>
              <a:rPr lang="de-DE" dirty="0" smtClean="0"/>
              <a:t> </a:t>
            </a:r>
            <a:r>
              <a:rPr lang="de-DE" dirty="0" err="1" smtClean="0"/>
              <a:t>the</a:t>
            </a:r>
            <a:r>
              <a:rPr lang="de-DE" dirty="0" smtClean="0"/>
              <a:t> </a:t>
            </a:r>
            <a:r>
              <a:rPr lang="de-DE" dirty="0" err="1" smtClean="0"/>
              <a:t>presenter</a:t>
            </a:r>
            <a:endParaRPr lang="de-DE" dirty="0"/>
          </a:p>
        </p:txBody>
      </p:sp>
      <p:sp>
        <p:nvSpPr>
          <p:cNvPr id="16" name="Textplatzhalter 15"/>
          <p:cNvSpPr>
            <a:spLocks noGrp="1"/>
          </p:cNvSpPr>
          <p:nvPr>
            <p:ph type="body" sz="quarter" idx="11" hasCustomPrompt="1"/>
          </p:nvPr>
        </p:nvSpPr>
        <p:spPr bwMode="gray">
          <a:xfrm>
            <a:off x="2590995" y="3925386"/>
            <a:ext cx="3960618" cy="1486185"/>
          </a:xfrm>
          <a:prstGeom prst="rect">
            <a:avLst/>
          </a:prstGeom>
        </p:spPr>
        <p:txBody>
          <a:bodyPr lIns="360000" tIns="108000" rIns="144000" bIns="108000" anchor="t"/>
          <a:lstStyle>
            <a:lvl1pPr marL="0" indent="0" algn="ctr">
              <a:buFont typeface="Arial" pitchFamily="34" charset="0"/>
              <a:buNone/>
              <a:defRPr sz="1080" b="0" baseline="0">
                <a:solidFill>
                  <a:schemeClr val="bg2"/>
                </a:solidFill>
              </a:defRPr>
            </a:lvl1pPr>
            <a:lvl2pPr marL="0" indent="0" algn="r">
              <a:buFont typeface="Arial" pitchFamily="34" charset="0"/>
              <a:buNone/>
              <a:defRPr sz="1080" b="0">
                <a:solidFill>
                  <a:schemeClr val="bg2"/>
                </a:solidFill>
              </a:defRPr>
            </a:lvl2pPr>
            <a:lvl3pPr marL="0" indent="0" algn="r">
              <a:buNone/>
              <a:defRPr sz="1080" b="0">
                <a:solidFill>
                  <a:schemeClr val="bg2"/>
                </a:solidFill>
              </a:defRPr>
            </a:lvl3pPr>
            <a:lvl4pPr marL="0" indent="0" algn="r">
              <a:buNone/>
              <a:defRPr sz="1080" b="0">
                <a:solidFill>
                  <a:schemeClr val="bg2"/>
                </a:solidFill>
              </a:defRPr>
            </a:lvl4pPr>
            <a:lvl5pPr marL="0" indent="0" algn="r">
              <a:buFont typeface="Arial" pitchFamily="34" charset="0"/>
              <a:buNone/>
              <a:defRPr sz="1080" b="0">
                <a:solidFill>
                  <a:schemeClr val="bg2"/>
                </a:solidFill>
              </a:defRPr>
            </a:lvl5pPr>
            <a:lvl6pPr marL="0" indent="0" algn="r">
              <a:buFont typeface="Arial" pitchFamily="34" charset="0"/>
              <a:buNone/>
              <a:defRPr sz="1080" b="0">
                <a:solidFill>
                  <a:schemeClr val="bg2"/>
                </a:solidFill>
              </a:defRPr>
            </a:lvl6pPr>
            <a:lvl7pPr marL="0" indent="0" algn="r">
              <a:buFont typeface="Arial" pitchFamily="34" charset="0"/>
              <a:buNone/>
              <a:defRPr sz="1080" b="0">
                <a:solidFill>
                  <a:schemeClr val="bg2"/>
                </a:solidFill>
              </a:defRPr>
            </a:lvl7pPr>
            <a:lvl8pPr marL="0" indent="0" algn="r">
              <a:buFont typeface="Arial" pitchFamily="34" charset="0"/>
              <a:buNone/>
              <a:defRPr sz="1080" b="0">
                <a:solidFill>
                  <a:schemeClr val="bg2"/>
                </a:solidFill>
              </a:defRPr>
            </a:lvl8pPr>
            <a:lvl9pPr marL="0" indent="0" algn="r">
              <a:buFont typeface="Arial" pitchFamily="34" charset="0"/>
              <a:buNone/>
              <a:defRPr sz="1080" b="0">
                <a:solidFill>
                  <a:schemeClr val="bg2"/>
                </a:solidFill>
              </a:defRPr>
            </a:lvl9pPr>
          </a:lstStyle>
          <a:p>
            <a:pPr lvl="0"/>
            <a:r>
              <a:rPr lang="de-DE" dirty="0" smtClean="0"/>
              <a:t>Type in </a:t>
            </a:r>
            <a:r>
              <a:rPr lang="de-DE" dirty="0" err="1" smtClean="0"/>
              <a:t>your</a:t>
            </a:r>
            <a:r>
              <a:rPr lang="de-DE" dirty="0" smtClean="0"/>
              <a:t> </a:t>
            </a:r>
            <a:r>
              <a:rPr lang="de-DE" dirty="0" err="1" smtClean="0"/>
              <a:t>contact</a:t>
            </a:r>
            <a:r>
              <a:rPr lang="de-DE" dirty="0" smtClean="0"/>
              <a:t> </a:t>
            </a:r>
            <a:r>
              <a:rPr lang="de-DE" dirty="0" err="1" smtClean="0"/>
              <a:t>details</a:t>
            </a:r>
            <a:endParaRPr lang="de-DE" dirty="0"/>
          </a:p>
        </p:txBody>
      </p:sp>
      <p:sp>
        <p:nvSpPr>
          <p:cNvPr id="11" name="Textfeld 30"/>
          <p:cNvSpPr txBox="1"/>
          <p:nvPr userDrawn="1"/>
        </p:nvSpPr>
        <p:spPr bwMode="gray">
          <a:xfrm>
            <a:off x="274783" y="6506646"/>
            <a:ext cx="1465674" cy="206279"/>
          </a:xfrm>
          <a:prstGeom prst="rect">
            <a:avLst/>
          </a:prstGeom>
          <a:noFill/>
        </p:spPr>
        <p:txBody>
          <a:bodyPr wrap="square" lIns="0" tIns="0" rIns="0" bIns="0" numCol="1" rtlCol="0">
            <a:noAutofit/>
          </a:bodyPr>
          <a:lstStyle/>
          <a:p>
            <a:pPr defTabSz="641909" fontAlgn="auto">
              <a:spcBef>
                <a:spcPts val="0"/>
              </a:spcBef>
              <a:spcAft>
                <a:spcPts val="270"/>
              </a:spcAft>
            </a:pPr>
            <a:r>
              <a:rPr lang="de-DE" sz="600" dirty="0" err="1">
                <a:solidFill>
                  <a:srgbClr val="111111">
                    <a:lumMod val="75000"/>
                    <a:lumOff val="25000"/>
                  </a:srgbClr>
                </a:solidFill>
                <a:latin typeface="Trebuchet MS"/>
              </a:rPr>
              <a:t>blog</a:t>
            </a:r>
            <a:r>
              <a:rPr lang="de-DE" sz="600" dirty="0">
                <a:solidFill>
                  <a:srgbClr val="111111">
                    <a:lumMod val="75000"/>
                    <a:lumOff val="25000"/>
                  </a:srgbClr>
                </a:solidFill>
                <a:latin typeface="Trebuchet MS"/>
              </a:rPr>
              <a:t>: </a:t>
            </a:r>
            <a:r>
              <a:rPr lang="de-DE" sz="600" b="1" dirty="0" err="1">
                <a:solidFill>
                  <a:srgbClr val="111111">
                    <a:lumMod val="75000"/>
                    <a:lumOff val="25000"/>
                  </a:srgbClr>
                </a:solidFill>
                <a:latin typeface="Trebuchet MS"/>
              </a:rPr>
              <a:t>electric-cloud.com</a:t>
            </a:r>
            <a:r>
              <a:rPr lang="de-DE" sz="600" b="1" dirty="0">
                <a:solidFill>
                  <a:srgbClr val="111111">
                    <a:lumMod val="75000"/>
                    <a:lumOff val="25000"/>
                  </a:srgbClr>
                </a:solidFill>
                <a:latin typeface="Trebuchet MS"/>
              </a:rPr>
              <a:t>/</a:t>
            </a:r>
            <a:r>
              <a:rPr lang="de-DE" sz="600" b="1" dirty="0" err="1">
                <a:solidFill>
                  <a:srgbClr val="111111">
                    <a:lumMod val="75000"/>
                    <a:lumOff val="25000"/>
                  </a:srgbClr>
                </a:solidFill>
                <a:latin typeface="Trebuchet MS"/>
              </a:rPr>
              <a:t>blog</a:t>
            </a:r>
            <a:endParaRPr lang="de-DE" sz="600" b="1" dirty="0">
              <a:solidFill>
                <a:srgbClr val="111111">
                  <a:lumMod val="75000"/>
                  <a:lumOff val="25000"/>
                </a:srgbClr>
              </a:solidFill>
              <a:latin typeface="Trebuchet MS"/>
            </a:endParaRPr>
          </a:p>
        </p:txBody>
      </p:sp>
      <p:sp>
        <p:nvSpPr>
          <p:cNvPr id="12" name="Textfeld 31"/>
          <p:cNvSpPr txBox="1"/>
          <p:nvPr userDrawn="1"/>
        </p:nvSpPr>
        <p:spPr bwMode="gray">
          <a:xfrm>
            <a:off x="274784" y="6358801"/>
            <a:ext cx="1587909" cy="147816"/>
          </a:xfrm>
          <a:prstGeom prst="rect">
            <a:avLst/>
          </a:prstGeom>
          <a:noFill/>
        </p:spPr>
        <p:txBody>
          <a:bodyPr wrap="square" lIns="0" tIns="0" rIns="0" bIns="0" numCol="1" rtlCol="0">
            <a:noAutofit/>
          </a:bodyPr>
          <a:lstStyle/>
          <a:p>
            <a:pPr defTabSz="641909" fontAlgn="auto">
              <a:spcBef>
                <a:spcPts val="0"/>
              </a:spcBef>
              <a:spcAft>
                <a:spcPts val="270"/>
              </a:spcAft>
            </a:pPr>
            <a:r>
              <a:rPr lang="de-DE" sz="600" dirty="0" err="1">
                <a:solidFill>
                  <a:srgbClr val="111111">
                    <a:lumMod val="75000"/>
                    <a:lumOff val="25000"/>
                  </a:srgbClr>
                </a:solidFill>
                <a:latin typeface="Trebuchet MS"/>
              </a:rPr>
              <a:t>twitter</a:t>
            </a:r>
            <a:r>
              <a:rPr lang="de-DE" sz="600" dirty="0">
                <a:solidFill>
                  <a:srgbClr val="111111">
                    <a:lumMod val="75000"/>
                    <a:lumOff val="25000"/>
                  </a:srgbClr>
                </a:solidFill>
                <a:latin typeface="Trebuchet MS"/>
              </a:rPr>
              <a:t>: </a:t>
            </a:r>
            <a:r>
              <a:rPr lang="de-DE" sz="600" b="1" dirty="0">
                <a:solidFill>
                  <a:srgbClr val="111111">
                    <a:lumMod val="75000"/>
                    <a:lumOff val="25000"/>
                  </a:srgbClr>
                </a:solidFill>
                <a:latin typeface="Trebuchet MS"/>
              </a:rPr>
              <a:t>@electriccloud</a:t>
            </a:r>
          </a:p>
        </p:txBody>
      </p:sp>
      <p:sp>
        <p:nvSpPr>
          <p:cNvPr id="13" name="Datumsplatzhalter 3"/>
          <p:cNvSpPr>
            <a:spLocks noGrp="1"/>
          </p:cNvSpPr>
          <p:nvPr>
            <p:ph type="dt" sz="half" idx="2"/>
          </p:nvPr>
        </p:nvSpPr>
        <p:spPr bwMode="gray">
          <a:xfrm>
            <a:off x="114302" y="6633357"/>
            <a:ext cx="1668463" cy="224643"/>
          </a:xfrm>
          <a:prstGeom prst="rect">
            <a:avLst/>
          </a:prstGeom>
        </p:spPr>
        <p:txBody>
          <a:bodyPr vert="horz" lIns="0" tIns="18000" rIns="0" bIns="0" rtlCol="0" anchor="t"/>
          <a:lstStyle>
            <a:lvl1pPr algn="r">
              <a:defRPr sz="608">
                <a:solidFill>
                  <a:schemeClr val="bg2"/>
                </a:solidFill>
              </a:defRPr>
            </a:lvl1pPr>
          </a:lstStyle>
          <a:p>
            <a:pPr defTabSz="641909" fontAlgn="auto">
              <a:spcBef>
                <a:spcPts val="0"/>
              </a:spcBef>
              <a:spcAft>
                <a:spcPts val="0"/>
              </a:spcAft>
            </a:pPr>
            <a:r>
              <a:rPr lang="en-US" dirty="0" smtClean="0">
                <a:solidFill>
                  <a:srgbClr val="505050"/>
                </a:solidFill>
                <a:latin typeface="Trebuchet MS"/>
              </a:rPr>
              <a:t>© Electric Cloud  |  </a:t>
            </a:r>
            <a:r>
              <a:rPr lang="en-US" dirty="0" err="1" smtClean="0">
                <a:solidFill>
                  <a:srgbClr val="505050"/>
                </a:solidFill>
                <a:latin typeface="Trebuchet MS"/>
              </a:rPr>
              <a:t>www.electriccloud.com</a:t>
            </a:r>
            <a:endParaRPr lang="de-DE" dirty="0">
              <a:solidFill>
                <a:srgbClr val="505050"/>
              </a:solidFill>
              <a:latin typeface="Trebuchet MS"/>
            </a:endParaRP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96214" y="6491757"/>
            <a:ext cx="1246037" cy="243840"/>
          </a:xfrm>
          <a:prstGeom prst="rect">
            <a:avLst/>
          </a:prstGeom>
        </p:spPr>
      </p:pic>
    </p:spTree>
    <p:extLst>
      <p:ext uri="{BB962C8B-B14F-4D97-AF65-F5344CB8AC3E}">
        <p14:creationId xmlns:p14="http://schemas.microsoft.com/office/powerpoint/2010/main" val="1686338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82375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Dell Blue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191701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Dell Blue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938685"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0437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Dell Blue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1" y="365760"/>
            <a:ext cx="5076613"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589096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Dell Blue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9760900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Dell Blue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454139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mage with Dell Blue footer ">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8" name="fl"/>
          <p:cNvSpPr txBox="1"/>
          <p:nvPr userDrawn="1"/>
        </p:nvSpPr>
        <p:spPr>
          <a:xfrm>
            <a:off x="0" y="6651753"/>
            <a:ext cx="9144000" cy="210058"/>
          </a:xfrm>
          <a:prstGeom prst="rect">
            <a:avLst/>
          </a:prstGeom>
          <a:solidFill>
            <a:schemeClr val="bg1"/>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2392889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25904" y="261563"/>
            <a:ext cx="8239126" cy="443199"/>
          </a:xfrm>
        </p:spPr>
        <p:txBody>
          <a:bodyPr wrap="square" anchor="t"/>
          <a:lstStyle>
            <a:lvl1pPr>
              <a:lnSpc>
                <a:spcPct val="90000"/>
              </a:lnSpc>
              <a:defRPr sz="3200" b="0">
                <a:solidFill>
                  <a:schemeClr val="accent1"/>
                </a:solidFill>
                <a:latin typeface="+mj-lt"/>
              </a:defRPr>
            </a:lvl1pPr>
          </a:lstStyle>
          <a:p>
            <a:r>
              <a:rPr lang="en-US" dirty="0" smtClean="0"/>
              <a:t>Click to edit master title</a:t>
            </a:r>
            <a:endParaRPr lang="en-US" dirty="0"/>
          </a:p>
        </p:txBody>
      </p:sp>
    </p:spTree>
    <p:extLst>
      <p:ext uri="{BB962C8B-B14F-4D97-AF65-F5344CB8AC3E}">
        <p14:creationId xmlns:p14="http://schemas.microsoft.com/office/powerpoint/2010/main" val="864534279"/>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41110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28206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99573" y="621068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3836551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ell Gray divider slide">
    <p:bg>
      <p:bgPr>
        <a:solidFill>
          <a:srgbClr val="AAAAA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808209" y="6319319"/>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3265548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Dell Gray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257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Dell Gray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42729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Dell Gray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94846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Dell Gray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4837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Dell Gray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1" y="365760"/>
            <a:ext cx="6058747"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solidFill>
                  <a:srgbClr val="AAAAAA"/>
                </a:solidFill>
              </a:defRPr>
            </a:lvl1pPr>
          </a:lstStyle>
          <a:p>
            <a:pPr lvl="0"/>
            <a:r>
              <a:rPr lang="en-US" dirty="0" smtClean="0"/>
              <a:t>Subhead</a:t>
            </a:r>
            <a:endParaRPr lang="en-US" dirty="0"/>
          </a:p>
        </p:txBody>
      </p:sp>
    </p:spTree>
    <p:extLst>
      <p:ext uri="{BB962C8B-B14F-4D97-AF65-F5344CB8AC3E}">
        <p14:creationId xmlns:p14="http://schemas.microsoft.com/office/powerpoint/2010/main" val="1076650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ith Dell Gray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solidFill>
                  <a:srgbClr val="AAAAAA"/>
                </a:solidFill>
              </a:defRPr>
            </a:lvl1pPr>
          </a:lstStyle>
          <a:p>
            <a:pPr lvl="0"/>
            <a:r>
              <a:rPr lang="en-US" dirty="0" smtClean="0"/>
              <a:t>Subhead</a:t>
            </a:r>
            <a:endParaRPr lang="en-US" dirty="0"/>
          </a:p>
        </p:txBody>
      </p:sp>
    </p:spTree>
    <p:extLst>
      <p:ext uri="{BB962C8B-B14F-4D97-AF65-F5344CB8AC3E}">
        <p14:creationId xmlns:p14="http://schemas.microsoft.com/office/powerpoint/2010/main" val="14137992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ith Dell Gray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947609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243786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mage with Dell Gray footer ">
    <p:bg>
      <p:bgPr>
        <a:blipFill dpi="0" rotWithShape="1">
          <a:blip r:embed="rId2">
            <a:lum/>
          </a:blip>
          <a:srcRect/>
          <a:stretch>
            <a:fillRect l="-7000" r="-7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51753"/>
            <a:ext cx="9144000" cy="210058"/>
          </a:xfrm>
          <a:prstGeom prst="rect">
            <a:avLst/>
          </a:prstGeom>
          <a:solidFill>
            <a:srgbClr val="AAAAAA"/>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106597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ll Dark Blue divider slide">
    <p:bg>
      <p:bgPr>
        <a:solidFill>
          <a:srgbClr val="00206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63361" y="6219736"/>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1994142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8615045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04785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63614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1837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0"/>
            <a:ext cx="5065324"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385845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996620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343509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mage with Dell Dark Blue footer ">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63042"/>
            <a:ext cx="9144000" cy="210058"/>
          </a:xfrm>
          <a:prstGeom prst="rect">
            <a:avLst/>
          </a:prstGeom>
          <a:solidFill>
            <a:srgbClr val="002060"/>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720534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6117"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443655"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24754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ell Teal divider slide">
    <p:bg>
      <p:bgPr>
        <a:solidFill>
          <a:srgbClr val="74CAC7"/>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99573" y="621068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2919792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solidFill>
                  <a:schemeClr val="accent2"/>
                </a:solidFill>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02545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with Dell Teal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8707728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with Dell Teal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39769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with Dell Teal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85224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with Dell Teal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0"/>
            <a:ext cx="5573324"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854225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ith Dell Teal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322386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ith Dell Teal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617744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mage with Dell Teal footer ">
    <p:bg>
      <p:bgPr>
        <a:blipFill dpi="0" rotWithShape="1">
          <a:blip r:embed="rId2">
            <a:lum/>
          </a:blip>
          <a:srcRect/>
          <a:stretch>
            <a:fillRect l="-7000" r="-7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51753"/>
            <a:ext cx="9144000" cy="210058"/>
          </a:xfrm>
          <a:prstGeom prst="rect">
            <a:avLst/>
          </a:prstGeom>
          <a:solidFill>
            <a:srgbClr val="74CAC7"/>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332108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99573" y="621068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1502156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1" y="365760"/>
            <a:ext cx="5810391"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993007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with Dell Green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10941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Dell Green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36526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ith Dell Green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23768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ith Dell Green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89492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Dell Green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53343" y="365760"/>
            <a:ext cx="6149058"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53343"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53343"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506907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with Dell Green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391418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with Dell Green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226541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mage with Dell Green footer">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51753"/>
            <a:ext cx="9144000" cy="210058"/>
          </a:xfrm>
          <a:prstGeom prst="rect">
            <a:avLst/>
          </a:prstGeom>
          <a:solidFill>
            <a:schemeClr val="accent3"/>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1514399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ll Yellow divider slide">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99573" y="621068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222973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with Dell Yellow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088738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78229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with Dell Yellow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39223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with Dell Yellow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53045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Dell Yellow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4635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Dell Yellow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0"/>
            <a:ext cx="5437858"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0076803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with Dell Yellow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003518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with Dell Yellow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651029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Image with Dell Yellow footer">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63042"/>
            <a:ext cx="9144000" cy="210058"/>
          </a:xfrm>
          <a:prstGeom prst="rect">
            <a:avLst/>
          </a:prstGeom>
          <a:solidFill>
            <a:schemeClr val="accent4"/>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4208533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ell Dark Red divider slide">
    <p:bg>
      <p:bgPr>
        <a:solidFill>
          <a:schemeClr val="accent5"/>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
        <p:nvSpPr>
          <p:cNvPr id="4" name="TextBox 3"/>
          <p:cNvSpPr txBox="1"/>
          <p:nvPr userDrawn="1"/>
        </p:nvSpPr>
        <p:spPr>
          <a:xfrm>
            <a:off x="6699573" y="621068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2347025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86753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3478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775402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13667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40565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1" y="365760"/>
            <a:ext cx="5020169"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743907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573752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946534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Image with Dell Dark Red footer">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51753"/>
            <a:ext cx="9144000" cy="210058"/>
          </a:xfrm>
          <a:prstGeom prst="rect">
            <a:avLst/>
          </a:prstGeom>
          <a:solidFill>
            <a:schemeClr val="accent5"/>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823132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ell Berry divider slide ">
    <p:bg>
      <p:bgPr>
        <a:solidFill>
          <a:schemeClr val="accent6"/>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64632" y="2331028"/>
            <a:ext cx="6850901" cy="1994392"/>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9" descr="white"/>
          <p:cNvPicPr>
            <a:picLocks noChangeAspect="1" noChangeArrowheads="1"/>
          </p:cNvPicPr>
          <p:nvPr userDrawn="1"/>
        </p:nvPicPr>
        <p:blipFill>
          <a:blip r:embed="rId2" cstate="screen"/>
          <a:srcRect/>
          <a:stretch>
            <a:fillRect/>
          </a:stretch>
        </p:blipFill>
        <p:spPr bwMode="black">
          <a:xfrm>
            <a:off x="8296030" y="6043261"/>
            <a:ext cx="550664" cy="550664"/>
          </a:xfrm>
          <a:prstGeom prst="rect">
            <a:avLst/>
          </a:prstGeom>
          <a:noFill/>
          <a:ln w="9525">
            <a:noFill/>
            <a:miter lim="800000"/>
            <a:headEnd/>
            <a:tailEnd/>
          </a:ln>
        </p:spPr>
      </p:pic>
    </p:spTree>
    <p:extLst>
      <p:ext uri="{BB962C8B-B14F-4D97-AF65-F5344CB8AC3E}">
        <p14:creationId xmlns:p14="http://schemas.microsoft.com/office/powerpoint/2010/main" val="1342920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with Dell Berry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7924386"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39887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with Dell Berry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4631" y="1463040"/>
            <a:ext cx="7955280" cy="31845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64631" y="362513"/>
            <a:ext cx="7955280" cy="85344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85587" y="2072640"/>
            <a:ext cx="79552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27525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Dell Berry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5344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3646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479432" y="1706880"/>
            <a:ext cx="384048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25267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5521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with Dell Berry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7094" y="365759"/>
            <a:ext cx="4285279" cy="85344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4632" y="1706880"/>
            <a:ext cx="4283860" cy="42672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236753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with Dell Berry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0"/>
            <a:ext cx="5392702" cy="4431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632" y="1706880"/>
            <a:ext cx="4297680" cy="42672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092200"/>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4043541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with Dell Berry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632" y="365761"/>
            <a:ext cx="4297680" cy="886396"/>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4632" y="2072640"/>
            <a:ext cx="4297680" cy="402336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4632" y="1484464"/>
            <a:ext cx="4297680" cy="31845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946355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with Dell Berry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362515"/>
            <a:ext cx="7955280" cy="886396"/>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148401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Image with Dell Berry footer">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6663042"/>
            <a:ext cx="9144000" cy="210058"/>
          </a:xfrm>
          <a:prstGeom prst="rect">
            <a:avLst/>
          </a:prstGeom>
          <a:solidFill>
            <a:schemeClr val="accent6"/>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2052872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dirty="0" smtClean="0"/>
          </a:p>
        </p:txBody>
      </p:sp>
      <p:sp>
        <p:nvSpPr>
          <p:cNvPr id="9" name="Text Placeholder 8"/>
          <p:cNvSpPr>
            <a:spLocks noGrp="1"/>
          </p:cNvSpPr>
          <p:nvPr>
            <p:ph type="body" sz="quarter" idx="13"/>
          </p:nvPr>
        </p:nvSpPr>
        <p:spPr>
          <a:xfrm>
            <a:off x="301625" y="827330"/>
            <a:ext cx="8597900" cy="310433"/>
          </a:xfrm>
        </p:spPr>
        <p:txBody>
          <a:bodyPr>
            <a:noAutofit/>
          </a:bodyPr>
          <a:lstStyle>
            <a:lvl1pPr marL="0" indent="0">
              <a:buNone/>
              <a:defRPr sz="1600" b="1">
                <a:solidFill>
                  <a:srgbClr val="66A1C7"/>
                </a:solidFill>
              </a:defRPr>
            </a:lvl1pPr>
            <a:lvl2pPr marL="457200" indent="0">
              <a:buNone/>
              <a:defRPr sz="1600" b="1">
                <a:solidFill>
                  <a:srgbClr val="66A1C7"/>
                </a:solidFill>
              </a:defRPr>
            </a:lvl2pPr>
            <a:lvl3pPr marL="914400" indent="0">
              <a:buNone/>
              <a:defRPr sz="1600" b="1">
                <a:solidFill>
                  <a:srgbClr val="66A1C7"/>
                </a:solidFill>
              </a:defRPr>
            </a:lvl3pPr>
            <a:lvl4pPr marL="1371600" indent="0">
              <a:buNone/>
              <a:defRPr sz="1600" b="1">
                <a:solidFill>
                  <a:srgbClr val="66A1C7"/>
                </a:solidFill>
              </a:defRPr>
            </a:lvl4pPr>
            <a:lvl5pPr marL="1828800" indent="0">
              <a:buNone/>
              <a:defRPr sz="1600" b="1">
                <a:solidFill>
                  <a:srgbClr val="66A1C7"/>
                </a:solidFill>
              </a:defRPr>
            </a:lvl5pPr>
          </a:lstStyle>
          <a:p>
            <a:pPr lvl="0"/>
            <a:r>
              <a:rPr lang="en-US" dirty="0" smtClean="0"/>
              <a:t>Click to edit Master text styles</a:t>
            </a:r>
          </a:p>
        </p:txBody>
      </p:sp>
      <p:sp>
        <p:nvSpPr>
          <p:cNvPr id="7" name="Slide Number Placeholder 5"/>
          <p:cNvSpPr>
            <a:spLocks noGrp="1"/>
          </p:cNvSpPr>
          <p:nvPr>
            <p:ph type="sldNum" sz="quarter" idx="4"/>
          </p:nvPr>
        </p:nvSpPr>
        <p:spPr>
          <a:xfrm>
            <a:off x="3686710" y="6437376"/>
            <a:ext cx="1763305" cy="365125"/>
          </a:xfrm>
          <a:prstGeom prst="rect">
            <a:avLst/>
          </a:prstGeom>
        </p:spPr>
        <p:txBody>
          <a:bodyPr vert="horz" lIns="91440" tIns="45720" rIns="91440" bIns="45720" rtlCol="0" anchor="ctr"/>
          <a:lstStyle>
            <a:lvl1pPr algn="ctr">
              <a:defRPr sz="1100">
                <a:solidFill>
                  <a:schemeClr val="tx2"/>
                </a:solidFill>
              </a:defRPr>
            </a:lvl1pPr>
          </a:lstStyle>
          <a:p>
            <a:fld id="{AED83BFE-74DE-2D4A-9225-91942073BAAE}" type="slidenum">
              <a:rPr lang="en-US" smtClean="0">
                <a:solidFill>
                  <a:srgbClr val="023B64"/>
                </a:solidFill>
              </a:rPr>
              <a:pPr/>
              <a:t>‹#›</a:t>
            </a:fld>
            <a:endParaRPr lang="en-US" dirty="0">
              <a:solidFill>
                <a:srgbClr val="023B64"/>
              </a:solidFill>
            </a:endParaRPr>
          </a:p>
        </p:txBody>
      </p:sp>
    </p:spTree>
    <p:extLst>
      <p:ext uri="{BB962C8B-B14F-4D97-AF65-F5344CB8AC3E}">
        <p14:creationId xmlns:p14="http://schemas.microsoft.com/office/powerpoint/2010/main" val="11095294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smtClean="0"/>
          </a:p>
        </p:txBody>
      </p:sp>
      <p:sp>
        <p:nvSpPr>
          <p:cNvPr id="12" name="Text Placeholder 8"/>
          <p:cNvSpPr>
            <a:spLocks noGrp="1"/>
          </p:cNvSpPr>
          <p:nvPr>
            <p:ph type="body" sz="quarter" idx="13"/>
          </p:nvPr>
        </p:nvSpPr>
        <p:spPr>
          <a:xfrm>
            <a:off x="301625" y="827330"/>
            <a:ext cx="8597900" cy="310433"/>
          </a:xfrm>
        </p:spPr>
        <p:txBody>
          <a:bodyPr>
            <a:noAutofit/>
          </a:bodyPr>
          <a:lstStyle>
            <a:lvl1pPr marL="0" indent="0">
              <a:buNone/>
              <a:defRPr sz="1600" b="1">
                <a:solidFill>
                  <a:srgbClr val="66A1C7"/>
                </a:solidFill>
              </a:defRPr>
            </a:lvl1pPr>
            <a:lvl2pPr marL="457200" indent="0">
              <a:buNone/>
              <a:defRPr sz="1600" b="1">
                <a:solidFill>
                  <a:srgbClr val="66A1C7"/>
                </a:solidFill>
              </a:defRPr>
            </a:lvl2pPr>
            <a:lvl3pPr marL="914400" indent="0">
              <a:buNone/>
              <a:defRPr sz="1600" b="1">
                <a:solidFill>
                  <a:srgbClr val="66A1C7"/>
                </a:solidFill>
              </a:defRPr>
            </a:lvl3pPr>
            <a:lvl4pPr marL="1371600" indent="0">
              <a:buNone/>
              <a:defRPr sz="1600" b="1">
                <a:solidFill>
                  <a:srgbClr val="66A1C7"/>
                </a:solidFill>
              </a:defRPr>
            </a:lvl4pPr>
            <a:lvl5pPr marL="1828800" indent="0">
              <a:buNone/>
              <a:defRPr sz="1600" b="1">
                <a:solidFill>
                  <a:srgbClr val="66A1C7"/>
                </a:solidFill>
              </a:defRPr>
            </a:lvl5pPr>
          </a:lstStyle>
          <a:p>
            <a:pPr lvl="0"/>
            <a:r>
              <a:rPr lang="en-US" dirty="0" smtClean="0"/>
              <a:t>Click to edit Master text styles</a:t>
            </a:r>
          </a:p>
        </p:txBody>
      </p:sp>
      <p:sp>
        <p:nvSpPr>
          <p:cNvPr id="8" name="Slide Number Placeholder 5"/>
          <p:cNvSpPr>
            <a:spLocks noGrp="1"/>
          </p:cNvSpPr>
          <p:nvPr>
            <p:ph type="sldNum" sz="quarter" idx="4"/>
          </p:nvPr>
        </p:nvSpPr>
        <p:spPr>
          <a:xfrm>
            <a:off x="3686710" y="6437376"/>
            <a:ext cx="1763305" cy="365125"/>
          </a:xfrm>
          <a:prstGeom prst="rect">
            <a:avLst/>
          </a:prstGeom>
        </p:spPr>
        <p:txBody>
          <a:bodyPr vert="horz" lIns="91440" tIns="45720" rIns="91440" bIns="45720" rtlCol="0" anchor="ctr"/>
          <a:lstStyle>
            <a:lvl1pPr algn="ctr">
              <a:defRPr sz="1100">
                <a:solidFill>
                  <a:schemeClr val="tx2"/>
                </a:solidFill>
              </a:defRPr>
            </a:lvl1pPr>
          </a:lstStyle>
          <a:p>
            <a:fld id="{AED83BFE-74DE-2D4A-9225-91942073BAAE}" type="slidenum">
              <a:rPr lang="en-US" smtClean="0">
                <a:solidFill>
                  <a:srgbClr val="023B64"/>
                </a:solidFill>
              </a:rPr>
              <a:pPr/>
              <a:t>‹#›</a:t>
            </a:fld>
            <a:endParaRPr lang="en-US" dirty="0">
              <a:solidFill>
                <a:srgbClr val="023B64"/>
              </a:solidFill>
            </a:endParaRPr>
          </a:p>
        </p:txBody>
      </p:sp>
    </p:spTree>
    <p:extLst>
      <p:ext uri="{BB962C8B-B14F-4D97-AF65-F5344CB8AC3E}">
        <p14:creationId xmlns:p14="http://schemas.microsoft.com/office/powerpoint/2010/main" val="1658839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vl1pPr>
          </a:lstStyle>
          <a:p>
            <a:r>
              <a:rPr lang="en-US" dirty="0"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smtClean="0"/>
          </a:p>
        </p:txBody>
      </p:sp>
      <p:sp>
        <p:nvSpPr>
          <p:cNvPr id="6" name="Text Placeholder 8"/>
          <p:cNvSpPr>
            <a:spLocks noGrp="1"/>
          </p:cNvSpPr>
          <p:nvPr>
            <p:ph type="body" sz="quarter" idx="13"/>
          </p:nvPr>
        </p:nvSpPr>
        <p:spPr>
          <a:xfrm>
            <a:off x="301625" y="827330"/>
            <a:ext cx="8597900" cy="310433"/>
          </a:xfrm>
        </p:spPr>
        <p:txBody>
          <a:bodyPr>
            <a:noAutofit/>
          </a:bodyPr>
          <a:lstStyle>
            <a:lvl1pPr marL="0" indent="0">
              <a:buNone/>
              <a:defRPr sz="1600" b="1">
                <a:solidFill>
                  <a:srgbClr val="66A1C7"/>
                </a:solidFill>
              </a:defRPr>
            </a:lvl1pPr>
            <a:lvl2pPr marL="457200" indent="0">
              <a:buNone/>
              <a:defRPr sz="1600" b="1">
                <a:solidFill>
                  <a:srgbClr val="66A1C7"/>
                </a:solidFill>
              </a:defRPr>
            </a:lvl2pPr>
            <a:lvl3pPr marL="914400" indent="0">
              <a:buNone/>
              <a:defRPr sz="1600" b="1">
                <a:solidFill>
                  <a:srgbClr val="66A1C7"/>
                </a:solidFill>
              </a:defRPr>
            </a:lvl3pPr>
            <a:lvl4pPr marL="1371600" indent="0">
              <a:buNone/>
              <a:defRPr sz="1600" b="1">
                <a:solidFill>
                  <a:srgbClr val="66A1C7"/>
                </a:solidFill>
              </a:defRPr>
            </a:lvl4pPr>
            <a:lvl5pPr marL="1828800" indent="0">
              <a:buNone/>
              <a:defRPr sz="1600" b="1">
                <a:solidFill>
                  <a:srgbClr val="66A1C7"/>
                </a:solidFill>
              </a:defRPr>
            </a:lvl5pPr>
          </a:lstStyle>
          <a:p>
            <a:pPr lvl="0"/>
            <a:r>
              <a:rPr lang="en-US" dirty="0" smtClean="0"/>
              <a:t>Click to edit Master text styles</a:t>
            </a:r>
          </a:p>
        </p:txBody>
      </p:sp>
      <p:sp>
        <p:nvSpPr>
          <p:cNvPr id="7" name="Slide Number Placeholder 5"/>
          <p:cNvSpPr>
            <a:spLocks noGrp="1"/>
          </p:cNvSpPr>
          <p:nvPr>
            <p:ph type="sldNum" sz="quarter" idx="4"/>
          </p:nvPr>
        </p:nvSpPr>
        <p:spPr>
          <a:xfrm>
            <a:off x="3686710" y="6437376"/>
            <a:ext cx="1763305" cy="365125"/>
          </a:xfrm>
          <a:prstGeom prst="rect">
            <a:avLst/>
          </a:prstGeom>
        </p:spPr>
        <p:txBody>
          <a:bodyPr vert="horz" lIns="91440" tIns="45720" rIns="91440" bIns="45720" rtlCol="0" anchor="ctr"/>
          <a:lstStyle>
            <a:lvl1pPr algn="ctr">
              <a:defRPr sz="1100">
                <a:solidFill>
                  <a:schemeClr val="tx2"/>
                </a:solidFill>
              </a:defRPr>
            </a:lvl1pPr>
          </a:lstStyle>
          <a:p>
            <a:fld id="{AED83BFE-74DE-2D4A-9225-91942073BAAE}" type="slidenum">
              <a:rPr lang="en-US" smtClean="0">
                <a:solidFill>
                  <a:srgbClr val="023B64"/>
                </a:solidFill>
              </a:rPr>
              <a:pPr/>
              <a:t>‹#›</a:t>
            </a:fld>
            <a:endParaRPr lang="en-US" dirty="0">
              <a:solidFill>
                <a:srgbClr val="023B64"/>
              </a:solidFill>
            </a:endParaRPr>
          </a:p>
        </p:txBody>
      </p:sp>
    </p:spTree>
    <p:extLst>
      <p:ext uri="{BB962C8B-B14F-4D97-AF65-F5344CB8AC3E}">
        <p14:creationId xmlns:p14="http://schemas.microsoft.com/office/powerpoint/2010/main" val="868314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8"/>
          <p:cNvSpPr>
            <a:spLocks noGrp="1"/>
          </p:cNvSpPr>
          <p:nvPr>
            <p:ph type="body" sz="quarter" idx="13"/>
          </p:nvPr>
        </p:nvSpPr>
        <p:spPr>
          <a:xfrm>
            <a:off x="301625" y="827330"/>
            <a:ext cx="8597900" cy="310433"/>
          </a:xfrm>
        </p:spPr>
        <p:txBody>
          <a:bodyPr>
            <a:noAutofit/>
          </a:bodyPr>
          <a:lstStyle>
            <a:lvl1pPr marL="0" indent="0">
              <a:buNone/>
              <a:defRPr sz="1600" b="1">
                <a:solidFill>
                  <a:srgbClr val="66A1C7"/>
                </a:solidFill>
              </a:defRPr>
            </a:lvl1pPr>
            <a:lvl2pPr marL="457200" indent="0">
              <a:buNone/>
              <a:defRPr sz="1600" b="1">
                <a:solidFill>
                  <a:srgbClr val="66A1C7"/>
                </a:solidFill>
              </a:defRPr>
            </a:lvl2pPr>
            <a:lvl3pPr marL="914400" indent="0">
              <a:buNone/>
              <a:defRPr sz="1600" b="1">
                <a:solidFill>
                  <a:srgbClr val="66A1C7"/>
                </a:solidFill>
              </a:defRPr>
            </a:lvl3pPr>
            <a:lvl4pPr marL="1371600" indent="0">
              <a:buNone/>
              <a:defRPr sz="1600" b="1">
                <a:solidFill>
                  <a:srgbClr val="66A1C7"/>
                </a:solidFill>
              </a:defRPr>
            </a:lvl4pPr>
            <a:lvl5pPr marL="1828800" indent="0">
              <a:buNone/>
              <a:defRPr sz="1600" b="1">
                <a:solidFill>
                  <a:srgbClr val="66A1C7"/>
                </a:solidFill>
              </a:defRPr>
            </a:lvl5pPr>
          </a:lstStyle>
          <a:p>
            <a:pPr lvl="0"/>
            <a:r>
              <a:rPr lang="en-US" dirty="0" smtClean="0"/>
              <a:t>Click to edit Master text styles</a:t>
            </a:r>
          </a:p>
        </p:txBody>
      </p:sp>
      <p:sp>
        <p:nvSpPr>
          <p:cNvPr id="5" name="Footer Placeholder 4"/>
          <p:cNvSpPr>
            <a:spLocks noGrp="1"/>
          </p:cNvSpPr>
          <p:nvPr>
            <p:ph type="ftr" sz="quarter" idx="14"/>
          </p:nvPr>
        </p:nvSpPr>
        <p:spPr/>
        <p:txBody>
          <a:bodyPr/>
          <a:lstStyle>
            <a:lvl1pPr>
              <a:defRPr/>
            </a:lvl1pPr>
          </a:lstStyle>
          <a:p>
            <a:pPr>
              <a:defRPr/>
            </a:pPr>
            <a:r>
              <a:rPr lang="en-US"/>
              <a:t>Electric Cloud Proprietary &amp; Confidential.</a:t>
            </a:r>
            <a:endParaRPr lang="en-US" dirty="0"/>
          </a:p>
        </p:txBody>
      </p:sp>
      <p:sp>
        <p:nvSpPr>
          <p:cNvPr id="6" name="Slide Number Placeholder 5"/>
          <p:cNvSpPr>
            <a:spLocks noGrp="1"/>
          </p:cNvSpPr>
          <p:nvPr>
            <p:ph type="sldNum" sz="quarter" idx="15"/>
          </p:nvPr>
        </p:nvSpPr>
        <p:spPr/>
        <p:txBody>
          <a:bodyPr/>
          <a:lstStyle>
            <a:lvl1pPr>
              <a:defRPr/>
            </a:lvl1pPr>
          </a:lstStyle>
          <a:p>
            <a:pPr>
              <a:defRPr/>
            </a:pPr>
            <a:fld id="{C5E4E685-9055-4ADB-B5C4-45CA10629675}" type="slidenum">
              <a:rPr lang="en-US"/>
              <a:pPr>
                <a:defRPr/>
              </a:pPr>
              <a:t>‹#›</a:t>
            </a:fld>
            <a:endParaRPr lang="en-US" dirty="0"/>
          </a:p>
        </p:txBody>
      </p:sp>
    </p:spTree>
    <p:extLst>
      <p:ext uri="{BB962C8B-B14F-4D97-AF65-F5344CB8AC3E}">
        <p14:creationId xmlns:p14="http://schemas.microsoft.com/office/powerpoint/2010/main" val="16984628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90000"/>
              </a:lnSpc>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8"/>
          <p:cNvSpPr>
            <a:spLocks noGrp="1"/>
          </p:cNvSpPr>
          <p:nvPr>
            <p:ph type="body" sz="quarter" idx="13"/>
          </p:nvPr>
        </p:nvSpPr>
        <p:spPr>
          <a:xfrm>
            <a:off x="301625" y="827330"/>
            <a:ext cx="8597900" cy="310433"/>
          </a:xfrm>
        </p:spPr>
        <p:txBody>
          <a:bodyPr>
            <a:noAutofit/>
          </a:bodyPr>
          <a:lstStyle>
            <a:lvl1pPr marL="0" indent="0">
              <a:buNone/>
              <a:defRPr sz="1600" b="1">
                <a:solidFill>
                  <a:srgbClr val="66A1C7"/>
                </a:solidFill>
              </a:defRPr>
            </a:lvl1pPr>
            <a:lvl2pPr marL="457200" indent="0">
              <a:buNone/>
              <a:defRPr sz="1600" b="1">
                <a:solidFill>
                  <a:srgbClr val="66A1C7"/>
                </a:solidFill>
              </a:defRPr>
            </a:lvl2pPr>
            <a:lvl3pPr marL="914400" indent="0">
              <a:buNone/>
              <a:defRPr sz="1600" b="1">
                <a:solidFill>
                  <a:srgbClr val="66A1C7"/>
                </a:solidFill>
              </a:defRPr>
            </a:lvl3pPr>
            <a:lvl4pPr marL="1371600" indent="0">
              <a:buNone/>
              <a:defRPr sz="1600" b="1">
                <a:solidFill>
                  <a:srgbClr val="66A1C7"/>
                </a:solidFill>
              </a:defRPr>
            </a:lvl4pPr>
            <a:lvl5pPr marL="1828800" indent="0">
              <a:buNone/>
              <a:defRPr sz="1600" b="1">
                <a:solidFill>
                  <a:srgbClr val="66A1C7"/>
                </a:solidFill>
              </a:defRPr>
            </a:lvl5pPr>
          </a:lstStyle>
          <a:p>
            <a:pPr lvl="0"/>
            <a:r>
              <a:rPr lang="en-US" dirty="0" smtClean="0"/>
              <a:t>Click to edit Master text styles</a:t>
            </a:r>
          </a:p>
        </p:txBody>
      </p:sp>
      <p:sp>
        <p:nvSpPr>
          <p:cNvPr id="6" name="Footer Placeholder 4"/>
          <p:cNvSpPr>
            <a:spLocks noGrp="1"/>
          </p:cNvSpPr>
          <p:nvPr>
            <p:ph type="ftr" sz="quarter" idx="14"/>
          </p:nvPr>
        </p:nvSpPr>
        <p:spPr/>
        <p:txBody>
          <a:bodyPr/>
          <a:lstStyle>
            <a:lvl1pPr>
              <a:defRPr/>
            </a:lvl1pPr>
          </a:lstStyle>
          <a:p>
            <a:pPr>
              <a:defRPr/>
            </a:pPr>
            <a:r>
              <a:rPr lang="en-US"/>
              <a:t>Electric Cloud Proprietary &amp; Confidential.</a:t>
            </a:r>
            <a:endParaRPr lang="en-US" dirty="0"/>
          </a:p>
        </p:txBody>
      </p:sp>
      <p:sp>
        <p:nvSpPr>
          <p:cNvPr id="7" name="Slide Number Placeholder 5"/>
          <p:cNvSpPr>
            <a:spLocks noGrp="1"/>
          </p:cNvSpPr>
          <p:nvPr>
            <p:ph type="sldNum" sz="quarter" idx="15"/>
          </p:nvPr>
        </p:nvSpPr>
        <p:spPr/>
        <p:txBody>
          <a:bodyPr/>
          <a:lstStyle>
            <a:lvl1pPr>
              <a:defRPr/>
            </a:lvl1pPr>
          </a:lstStyle>
          <a:p>
            <a:pPr>
              <a:defRPr/>
            </a:pPr>
            <a:fld id="{6398C2CC-2A13-400F-8E79-24B460B88CFF}" type="slidenum">
              <a:rPr lang="en-US"/>
              <a:pPr>
                <a:defRPr/>
              </a:pPr>
              <a:t>‹#›</a:t>
            </a:fld>
            <a:endParaRPr lang="en-US" dirty="0"/>
          </a:p>
        </p:txBody>
      </p:sp>
    </p:spTree>
    <p:extLst>
      <p:ext uri="{BB962C8B-B14F-4D97-AF65-F5344CB8AC3E}">
        <p14:creationId xmlns:p14="http://schemas.microsoft.com/office/powerpoint/2010/main" val="2476932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image" Target="../media/image1.png"/><Relationship Id="rId5" Type="http://schemas.openxmlformats.org/officeDocument/2006/relationships/slideLayout" Target="../slideLayouts/slideLayout90.xml"/><Relationship Id="rId10" Type="http://schemas.openxmlformats.org/officeDocument/2006/relationships/theme" Target="../theme/theme10.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image" Target="../media/image14.pn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5" Type="http://schemas.openxmlformats.org/officeDocument/2006/relationships/image" Target="../media/image15.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image" Target="../media/image16.jpe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6" Type="http://schemas.openxmlformats.org/officeDocument/2006/relationships/theme" Target="../theme/theme14.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image" Target="../media/image16.jpeg"/><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2" Type="http://schemas.openxmlformats.org/officeDocument/2006/relationships/slideLayout" Target="../slideLayouts/slideLayout169.xml"/><Relationship Id="rId16" Type="http://schemas.openxmlformats.org/officeDocument/2006/relationships/image" Target="../media/image22.jpeg"/><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theme" Target="../theme/theme16.xml"/><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image" Target="../media/image24.emf"/><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1.png"/><Relationship Id="rId5" Type="http://schemas.openxmlformats.org/officeDocument/2006/relationships/slideLayout" Target="../slideLayouts/slideLayout45.xml"/><Relationship Id="rId10" Type="http://schemas.openxmlformats.org/officeDocument/2006/relationships/theme" Target="../theme/theme5.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image" Target="../media/image1.png"/><Relationship Id="rId5" Type="http://schemas.openxmlformats.org/officeDocument/2006/relationships/slideLayout" Target="../slideLayouts/slideLayout54.xml"/><Relationship Id="rId10" Type="http://schemas.openxmlformats.org/officeDocument/2006/relationships/theme" Target="../theme/theme6.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1.png"/><Relationship Id="rId5" Type="http://schemas.openxmlformats.org/officeDocument/2006/relationships/slideLayout" Target="../slideLayouts/slideLayout63.xml"/><Relationship Id="rId10" Type="http://schemas.openxmlformats.org/officeDocument/2006/relationships/theme" Target="../theme/theme7.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1.png"/><Relationship Id="rId5" Type="http://schemas.openxmlformats.org/officeDocument/2006/relationships/slideLayout" Target="../slideLayouts/slideLayout72.xml"/><Relationship Id="rId10" Type="http://schemas.openxmlformats.org/officeDocument/2006/relationships/theme" Target="../theme/theme8.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png"/><Relationship Id="rId5" Type="http://schemas.openxmlformats.org/officeDocument/2006/relationships/slideLayout" Target="../slideLayouts/slideLayout81.xml"/><Relationship Id="rId10" Type="http://schemas.openxmlformats.org/officeDocument/2006/relationships/theme" Target="../theme/theme9.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53344"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 </a:t>
            </a:r>
          </a:p>
        </p:txBody>
      </p:sp>
      <p:sp>
        <p:nvSpPr>
          <p:cNvPr id="1029" name="Text Placeholder 12"/>
          <p:cNvSpPr>
            <a:spLocks noGrp="1"/>
          </p:cNvSpPr>
          <p:nvPr>
            <p:ph type="body" idx="1"/>
          </p:nvPr>
        </p:nvSpPr>
        <p:spPr bwMode="auto">
          <a:xfrm>
            <a:off x="353344"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pic>
        <p:nvPicPr>
          <p:cNvPr id="10" name="Picture 9" descr="dell_gray_logo.png"/>
          <p:cNvPicPr>
            <a:picLocks noChangeAspect="1"/>
          </p:cNvPicPr>
          <p:nvPr/>
        </p:nvPicPr>
        <p:blipFill>
          <a:blip r:embed="rId14" cstate="screen"/>
          <a:stretch>
            <a:fillRect/>
          </a:stretch>
        </p:blipFill>
        <p:spPr bwMode="black">
          <a:xfrm>
            <a:off x="8414827" y="6164917"/>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3" name="TextBox 2"/>
          <p:cNvSpPr txBox="1"/>
          <p:nvPr/>
        </p:nvSpPr>
        <p:spPr>
          <a:xfrm>
            <a:off x="6862527" y="6301213"/>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242"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374" r:id="rId10"/>
    <p:sldLayoutId id="2147484375" r:id="rId11"/>
    <p:sldLayoutId id="2147484502"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chemeClr val="accent6"/>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sp>
        <p:nvSpPr>
          <p:cNvPr id="8" name="TextBox 7"/>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1" name="TextBox 10"/>
          <p:cNvSpPr txBox="1"/>
          <p:nvPr/>
        </p:nvSpPr>
        <p:spPr>
          <a:xfrm>
            <a:off x="6862527" y="6265001"/>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1276237706"/>
      </p:ext>
    </p:extLst>
  </p:cSld>
  <p:clrMap bg1="dk2" tx1="lt1" bg2="dk1" tx2="lt2" accent1="accent1" accent2="accent2" accent3="accent3" accent4="accent4" accent5="accent5" accent6="accent6" hlink="hlink" folHlink="folHlink"/>
  <p:sldLayoutIdLst>
    <p:sldLayoutId id="2147484365" r:id="rId1"/>
    <p:sldLayoutId id="2147484322" r:id="rId2"/>
    <p:sldLayoutId id="2147484323" r:id="rId3"/>
    <p:sldLayoutId id="2147484324" r:id="rId4"/>
    <p:sldLayoutId id="2147484325" r:id="rId5"/>
    <p:sldLayoutId id="2147484326" r:id="rId6"/>
    <p:sldLayoutId id="2147484327" r:id="rId7"/>
    <p:sldLayoutId id="2147484328" r:id="rId8"/>
    <p:sldLayoutId id="2147484364"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6"/>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1"/>
            <a:ext cx="9144000" cy="1178672"/>
          </a:xfrm>
          <a:prstGeom prst="rect">
            <a:avLst/>
          </a:prstGeom>
          <a:gradFill flip="none" rotWithShape="1">
            <a:gsLst>
              <a:gs pos="0">
                <a:srgbClr val="153C60"/>
              </a:gs>
              <a:gs pos="100000">
                <a:srgbClr val="072C51"/>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a:solidFill>
                <a:prstClr val="white"/>
              </a:solidFill>
            </a:endParaRPr>
          </a:p>
        </p:txBody>
      </p:sp>
      <p:sp>
        <p:nvSpPr>
          <p:cNvPr id="8" name="Rectangle 7"/>
          <p:cNvSpPr/>
          <p:nvPr/>
        </p:nvSpPr>
        <p:spPr>
          <a:xfrm>
            <a:off x="0" y="1"/>
            <a:ext cx="9144000" cy="91439"/>
          </a:xfrm>
          <a:prstGeom prst="rect">
            <a:avLst/>
          </a:prstGeom>
          <a:solidFill>
            <a:srgbClr val="528E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a:solidFill>
                <a:srgbClr val="7DB1DD"/>
              </a:solidFill>
            </a:endParaRPr>
          </a:p>
        </p:txBody>
      </p:sp>
      <p:pic>
        <p:nvPicPr>
          <p:cNvPr id="9" name="Picture 8" descr="Electric_Cloud_blue_logo.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22151" y="6295952"/>
            <a:ext cx="946529" cy="439138"/>
          </a:xfrm>
          <a:prstGeom prst="rect">
            <a:avLst/>
          </a:prstGeom>
        </p:spPr>
      </p:pic>
      <p:sp>
        <p:nvSpPr>
          <p:cNvPr id="2" name="Title Placeholder 1"/>
          <p:cNvSpPr>
            <a:spLocks noGrp="1"/>
          </p:cNvSpPr>
          <p:nvPr>
            <p:ph type="title"/>
          </p:nvPr>
        </p:nvSpPr>
        <p:spPr>
          <a:xfrm>
            <a:off x="300839" y="109094"/>
            <a:ext cx="8599319" cy="851344"/>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00840" y="1600200"/>
            <a:ext cx="838596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54704" y="6372768"/>
            <a:ext cx="2895599" cy="365125"/>
          </a:xfrm>
          <a:prstGeom prst="rect">
            <a:avLst/>
          </a:prstGeom>
        </p:spPr>
        <p:txBody>
          <a:bodyPr vert="horz" lIns="91440" tIns="45720" rIns="91440" bIns="45720" rtlCol="0" anchor="ctr"/>
          <a:lstStyle>
            <a:lvl1pPr algn="l">
              <a:defRPr sz="1100">
                <a:solidFill>
                  <a:srgbClr val="66A1C7"/>
                </a:solidFill>
              </a:defRPr>
            </a:lvl1pPr>
          </a:lstStyle>
          <a:p>
            <a:pPr defTabSz="457200" fontAlgn="auto">
              <a:spcBef>
                <a:spcPts val="0"/>
              </a:spcBef>
              <a:spcAft>
                <a:spcPts val="0"/>
              </a:spcAft>
            </a:pPr>
            <a:endParaRPr lang="en-US" dirty="0">
              <a:latin typeface="Arial"/>
            </a:endParaRPr>
          </a:p>
        </p:txBody>
      </p:sp>
      <p:sp>
        <p:nvSpPr>
          <p:cNvPr id="10" name="Slide Number Placeholder 5"/>
          <p:cNvSpPr>
            <a:spLocks noGrp="1"/>
          </p:cNvSpPr>
          <p:nvPr>
            <p:ph type="sldNum" sz="quarter" idx="4"/>
          </p:nvPr>
        </p:nvSpPr>
        <p:spPr>
          <a:xfrm>
            <a:off x="3686710" y="6437376"/>
            <a:ext cx="1763305" cy="365125"/>
          </a:xfrm>
          <a:prstGeom prst="rect">
            <a:avLst/>
          </a:prstGeom>
        </p:spPr>
        <p:txBody>
          <a:bodyPr vert="horz" lIns="91440" tIns="45720" rIns="91440" bIns="45720" rtlCol="0" anchor="ctr"/>
          <a:lstStyle>
            <a:lvl1pPr algn="ctr">
              <a:defRPr sz="1100">
                <a:solidFill>
                  <a:schemeClr val="tx2"/>
                </a:solidFill>
              </a:defRPr>
            </a:lvl1pPr>
          </a:lstStyle>
          <a:p>
            <a:pPr defTabSz="457200" fontAlgn="auto">
              <a:spcBef>
                <a:spcPts val="0"/>
              </a:spcBef>
              <a:spcAft>
                <a:spcPts val="0"/>
              </a:spcAft>
            </a:pPr>
            <a:fld id="{AED83BFE-74DE-2D4A-9225-91942073BAAE}" type="slidenum">
              <a:rPr lang="en-US" smtClean="0">
                <a:solidFill>
                  <a:srgbClr val="023B64"/>
                </a:solidFill>
                <a:latin typeface="Arial"/>
              </a:rPr>
              <a:pPr defTabSz="457200" fontAlgn="auto">
                <a:spcBef>
                  <a:spcPts val="0"/>
                </a:spcBef>
                <a:spcAft>
                  <a:spcPts val="0"/>
                </a:spcAft>
              </a:pPr>
              <a:t>‹#›</a:t>
            </a:fld>
            <a:endParaRPr lang="en-US" dirty="0">
              <a:solidFill>
                <a:srgbClr val="023B64"/>
              </a:solidFill>
              <a:latin typeface="Arial"/>
            </a:endParaRPr>
          </a:p>
        </p:txBody>
      </p:sp>
      <p:sp>
        <p:nvSpPr>
          <p:cNvPr id="4" name="fc"/>
          <p:cNvSpPr txBox="1"/>
          <p:nvPr/>
        </p:nvSpPr>
        <p:spPr>
          <a:xfrm>
            <a:off x="0" y="6657340"/>
            <a:ext cx="9144000" cy="230832"/>
          </a:xfrm>
          <a:prstGeom prst="rect">
            <a:avLst/>
          </a:prstGeom>
          <a:noFill/>
        </p:spPr>
        <p:txBody>
          <a:bodyPr vert="horz" rtlCol="0">
            <a:spAutoFit/>
          </a:bodyPr>
          <a:lstStyle/>
          <a:p>
            <a:pPr algn="ctr"/>
            <a:endParaRPr lang="en-US" sz="900" b="0" i="0" u="none" baseline="0">
              <a:solidFill>
                <a:srgbClr val="1F497D"/>
              </a:solidFill>
              <a:latin typeface="arial unicode ms"/>
            </a:endParaRPr>
          </a:p>
        </p:txBody>
      </p:sp>
    </p:spTree>
    <p:extLst>
      <p:ext uri="{BB962C8B-B14F-4D97-AF65-F5344CB8AC3E}">
        <p14:creationId xmlns:p14="http://schemas.microsoft.com/office/powerpoint/2010/main" val="358067370"/>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457200" rtl="0" eaLnBrk="1" latinLnBrk="0" hangingPunct="1">
        <a:lnSpc>
          <a:spcPct val="90000"/>
        </a:lnSpc>
        <a:spcBef>
          <a:spcPct val="0"/>
        </a:spcBef>
        <a:buNone/>
        <a:defRPr sz="2600" b="1" kern="1200">
          <a:solidFill>
            <a:srgbClr val="FFFFFF"/>
          </a:solidFill>
          <a:effectLst>
            <a:outerShdw blurRad="50800" dist="38100" dir="2700000" algn="tl" rotWithShape="0">
              <a:prstClr val="black">
                <a:alpha val="40000"/>
              </a:prstClr>
            </a:outerShdw>
          </a:effectLst>
          <a:latin typeface="Rockwell"/>
          <a:ea typeface="+mj-ea"/>
          <a:cs typeface="Rockwell"/>
        </a:defRPr>
      </a:lvl1pPr>
    </p:titleStyle>
    <p:bodyStyle>
      <a:lvl1pPr marL="342900" indent="-342900" algn="l" defTabSz="457200" rtl="0" eaLnBrk="1" latinLnBrk="0" hangingPunct="1">
        <a:spcBef>
          <a:spcPct val="20000"/>
        </a:spcBef>
        <a:buClr>
          <a:srgbClr val="7CC04B"/>
        </a:buClr>
        <a:buFont typeface="Arial"/>
        <a:buChar char="•"/>
        <a:defRPr sz="2000" kern="1200">
          <a:solidFill>
            <a:srgbClr val="404040"/>
          </a:solidFill>
          <a:latin typeface="+mn-lt"/>
          <a:ea typeface="+mn-ea"/>
          <a:cs typeface="+mn-cs"/>
        </a:defRPr>
      </a:lvl1pPr>
      <a:lvl2pPr marL="742950" indent="-285750" algn="l" defTabSz="457200" rtl="0" eaLnBrk="1" latinLnBrk="0" hangingPunct="1">
        <a:spcBef>
          <a:spcPct val="20000"/>
        </a:spcBef>
        <a:buClr>
          <a:srgbClr val="7CC04B"/>
        </a:buClr>
        <a:buFont typeface="Arial"/>
        <a:buChar char="•"/>
        <a:defRPr sz="1800" kern="1200">
          <a:solidFill>
            <a:srgbClr val="404040"/>
          </a:solidFill>
          <a:latin typeface="+mn-lt"/>
          <a:ea typeface="+mn-ea"/>
          <a:cs typeface="+mn-cs"/>
        </a:defRPr>
      </a:lvl2pPr>
      <a:lvl3pPr marL="1143000" indent="-228600" algn="l" defTabSz="457200" rtl="0" eaLnBrk="1" latinLnBrk="0" hangingPunct="1">
        <a:spcBef>
          <a:spcPct val="20000"/>
        </a:spcBef>
        <a:buClr>
          <a:srgbClr val="7CC04B"/>
        </a:buClr>
        <a:buFont typeface="Arial"/>
        <a:buChar char="•"/>
        <a:defRPr sz="1600" kern="1200">
          <a:solidFill>
            <a:srgbClr val="404040"/>
          </a:solidFill>
          <a:latin typeface="+mn-lt"/>
          <a:ea typeface="+mn-ea"/>
          <a:cs typeface="+mn-cs"/>
        </a:defRPr>
      </a:lvl3pPr>
      <a:lvl4pPr marL="1600200" indent="-228600" algn="l" defTabSz="457200" rtl="0" eaLnBrk="1" latinLnBrk="0" hangingPunct="1">
        <a:spcBef>
          <a:spcPct val="20000"/>
        </a:spcBef>
        <a:buClr>
          <a:srgbClr val="7CC04B"/>
        </a:buClr>
        <a:buFont typeface="Arial"/>
        <a:buChar char="•"/>
        <a:defRPr sz="1600" kern="1200">
          <a:solidFill>
            <a:srgbClr val="404040"/>
          </a:solidFill>
          <a:latin typeface="+mn-lt"/>
          <a:ea typeface="+mn-ea"/>
          <a:cs typeface="+mn-cs"/>
        </a:defRPr>
      </a:lvl4pPr>
      <a:lvl5pPr marL="2057400" indent="-228600" algn="l" defTabSz="457200" rtl="0" eaLnBrk="1" latinLnBrk="0" hangingPunct="1">
        <a:spcBef>
          <a:spcPct val="20000"/>
        </a:spcBef>
        <a:buClr>
          <a:srgbClr val="7CC04B"/>
        </a:buClr>
        <a:buFont typeface="Arial"/>
        <a:buChar char="•"/>
        <a:defRPr sz="1600" kern="1200">
          <a:solidFill>
            <a:srgbClr val="40404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1"/>
            <a:ext cx="9144000" cy="1178672"/>
          </a:xfrm>
          <a:prstGeom prst="rect">
            <a:avLst/>
          </a:prstGeom>
          <a:gradFill flip="none" rotWithShape="1">
            <a:gsLst>
              <a:gs pos="0">
                <a:srgbClr val="153C60"/>
              </a:gs>
              <a:gs pos="100000">
                <a:srgbClr val="072C51"/>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solidFill>
                <a:prstClr val="white"/>
              </a:solidFill>
            </a:endParaRPr>
          </a:p>
        </p:txBody>
      </p:sp>
      <p:sp>
        <p:nvSpPr>
          <p:cNvPr id="8" name="Rectangle 7"/>
          <p:cNvSpPr/>
          <p:nvPr/>
        </p:nvSpPr>
        <p:spPr>
          <a:xfrm>
            <a:off x="0" y="0"/>
            <a:ext cx="9144000" cy="92075"/>
          </a:xfrm>
          <a:prstGeom prst="rect">
            <a:avLst/>
          </a:prstGeom>
          <a:solidFill>
            <a:srgbClr val="528EB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solidFill>
                <a:srgbClr val="7DB1DD"/>
              </a:solidFill>
            </a:endParaRPr>
          </a:p>
        </p:txBody>
      </p:sp>
      <p:pic>
        <p:nvPicPr>
          <p:cNvPr id="3078" name="Picture 8" descr="Electric_Cloud_blue_logo.png"/>
          <p:cNvPicPr>
            <a:picLocks noChangeAspect="1"/>
          </p:cNvPicPr>
          <p:nvPr/>
        </p:nvPicPr>
        <p:blipFill>
          <a:blip r:embed="rId5"/>
          <a:srcRect/>
          <a:stretch>
            <a:fillRect/>
          </a:stretch>
        </p:blipFill>
        <p:spPr bwMode="auto">
          <a:xfrm>
            <a:off x="8021638" y="6296025"/>
            <a:ext cx="947737" cy="439738"/>
          </a:xfrm>
          <a:prstGeom prst="rect">
            <a:avLst/>
          </a:prstGeom>
          <a:noFill/>
          <a:ln w="9525">
            <a:noFill/>
            <a:miter lim="800000"/>
            <a:headEnd/>
            <a:tailEnd/>
          </a:ln>
        </p:spPr>
      </p:pic>
      <p:sp>
        <p:nvSpPr>
          <p:cNvPr id="2" name="Title Placeholder 1"/>
          <p:cNvSpPr>
            <a:spLocks noGrp="1"/>
          </p:cNvSpPr>
          <p:nvPr>
            <p:ph type="title"/>
          </p:nvPr>
        </p:nvSpPr>
        <p:spPr>
          <a:xfrm>
            <a:off x="301625" y="109538"/>
            <a:ext cx="8597900" cy="8509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080" name="Text Placeholder 2"/>
          <p:cNvSpPr>
            <a:spLocks noGrp="1"/>
          </p:cNvSpPr>
          <p:nvPr>
            <p:ph type="body" idx="1"/>
          </p:nvPr>
        </p:nvSpPr>
        <p:spPr bwMode="auto">
          <a:xfrm>
            <a:off x="301625" y="1600200"/>
            <a:ext cx="838517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53975" y="6372225"/>
            <a:ext cx="2895600" cy="365125"/>
          </a:xfrm>
          <a:prstGeom prst="rect">
            <a:avLst/>
          </a:prstGeom>
        </p:spPr>
        <p:txBody>
          <a:bodyPr vert="horz" lIns="91440" tIns="45720" rIns="91440" bIns="45720" rtlCol="0" anchor="ctr"/>
          <a:lstStyle>
            <a:lvl1pPr algn="l" fontAlgn="auto">
              <a:spcBef>
                <a:spcPts val="0"/>
              </a:spcBef>
              <a:spcAft>
                <a:spcPts val="0"/>
              </a:spcAft>
              <a:defRPr sz="1100">
                <a:solidFill>
                  <a:srgbClr val="66A1C7"/>
                </a:solidFill>
                <a:latin typeface="+mn-lt"/>
                <a:cs typeface="+mn-cs"/>
              </a:defRPr>
            </a:lvl1pPr>
          </a:lstStyle>
          <a:p>
            <a:pPr defTabSz="457200">
              <a:defRPr/>
            </a:pPr>
            <a:r>
              <a:rPr lang="en-US"/>
              <a:t>Electric Cloud Proprietary &amp; Confidential.</a:t>
            </a:r>
            <a:endParaRPr lang="en-US" dirty="0"/>
          </a:p>
        </p:txBody>
      </p:sp>
      <p:sp>
        <p:nvSpPr>
          <p:cNvPr id="6" name="Slide Number Placeholder 5"/>
          <p:cNvSpPr>
            <a:spLocks noGrp="1"/>
          </p:cNvSpPr>
          <p:nvPr>
            <p:ph type="sldNum" sz="quarter" idx="4"/>
          </p:nvPr>
        </p:nvSpPr>
        <p:spPr>
          <a:xfrm>
            <a:off x="3803650" y="6383338"/>
            <a:ext cx="1762125" cy="365125"/>
          </a:xfrm>
          <a:prstGeom prst="rect">
            <a:avLst/>
          </a:prstGeom>
        </p:spPr>
        <p:txBody>
          <a:bodyPr vert="horz" lIns="91440" tIns="45720" rIns="91440" bIns="45720" rtlCol="0" anchor="ctr"/>
          <a:lstStyle>
            <a:lvl1pPr algn="ctr" fontAlgn="auto">
              <a:spcBef>
                <a:spcPts val="0"/>
              </a:spcBef>
              <a:spcAft>
                <a:spcPts val="0"/>
              </a:spcAft>
              <a:defRPr sz="1100">
                <a:solidFill>
                  <a:srgbClr val="66A1C7"/>
                </a:solidFill>
                <a:latin typeface="+mn-lt"/>
                <a:cs typeface="+mn-cs"/>
              </a:defRPr>
            </a:lvl1pPr>
          </a:lstStyle>
          <a:p>
            <a:pPr defTabSz="457200">
              <a:defRPr/>
            </a:pPr>
            <a:fld id="{E5E95688-13A6-4FC9-8C25-4E50B81E4D8C}" type="slidenum">
              <a:rPr lang="en-US"/>
              <a:pPr defTabSz="457200">
                <a:defRPr/>
              </a:pPr>
              <a:t>‹#›</a:t>
            </a:fld>
            <a:endParaRPr lang="en-US" dirty="0"/>
          </a:p>
        </p:txBody>
      </p:sp>
      <p:sp>
        <p:nvSpPr>
          <p:cNvPr id="3" name="fc"/>
          <p:cNvSpPr txBox="1"/>
          <p:nvPr/>
        </p:nvSpPr>
        <p:spPr>
          <a:xfrm>
            <a:off x="0" y="6657340"/>
            <a:ext cx="9144000" cy="230832"/>
          </a:xfrm>
          <a:prstGeom prst="rect">
            <a:avLst/>
          </a:prstGeom>
          <a:noFill/>
        </p:spPr>
        <p:txBody>
          <a:bodyPr vert="horz" rtlCol="0">
            <a:spAutoFit/>
          </a:bodyPr>
          <a:lstStyle/>
          <a:p>
            <a:pPr algn="ctr" defTabSz="457200"/>
            <a:endParaRPr lang="en-US" sz="900" b="0" i="0" u="none" baseline="0">
              <a:solidFill>
                <a:srgbClr val="1F497D"/>
              </a:solidFill>
              <a:latin typeface="arial unicode ms"/>
              <a:cs typeface="Arial" pitchFamily="34" charset="0"/>
            </a:endParaRPr>
          </a:p>
        </p:txBody>
      </p:sp>
    </p:spTree>
    <p:extLst>
      <p:ext uri="{BB962C8B-B14F-4D97-AF65-F5344CB8AC3E}">
        <p14:creationId xmlns:p14="http://schemas.microsoft.com/office/powerpoint/2010/main" val="2004724404"/>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Lst>
  <p:hf hdr="0" ftr="0" dt="0"/>
  <p:txStyles>
    <p:titleStyle>
      <a:lvl1pPr algn="l" defTabSz="457200" rtl="0" eaLnBrk="0" fontAlgn="base" hangingPunct="0">
        <a:lnSpc>
          <a:spcPct val="90000"/>
        </a:lnSpc>
        <a:spcBef>
          <a:spcPct val="0"/>
        </a:spcBef>
        <a:spcAft>
          <a:spcPct val="0"/>
        </a:spcAft>
        <a:defRPr sz="2600" b="1" kern="1200">
          <a:solidFill>
            <a:srgbClr val="FFFFFF"/>
          </a:solidFill>
          <a:effectLst>
            <a:outerShdw blurRad="50800" dist="38100" dir="2700000" algn="tl" rotWithShape="0">
              <a:prstClr val="black">
                <a:alpha val="40000"/>
              </a:prstClr>
            </a:outerShdw>
          </a:effectLst>
          <a:latin typeface="Rockwell"/>
          <a:ea typeface="Rockwell" pitchFamily="18" charset="0"/>
          <a:cs typeface="Rockwell"/>
        </a:defRPr>
      </a:lvl1pPr>
      <a:lvl2pPr algn="l" defTabSz="457200" rtl="0" eaLnBrk="0" fontAlgn="base" hangingPunct="0">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2pPr>
      <a:lvl3pPr algn="l" defTabSz="457200" rtl="0" eaLnBrk="0" fontAlgn="base" hangingPunct="0">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3pPr>
      <a:lvl4pPr algn="l" defTabSz="457200" rtl="0" eaLnBrk="0" fontAlgn="base" hangingPunct="0">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4pPr>
      <a:lvl5pPr algn="l" defTabSz="457200" rtl="0" eaLnBrk="0" fontAlgn="base" hangingPunct="0">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5pPr>
      <a:lvl6pPr marL="457200" algn="l" defTabSz="457200" rtl="0" fontAlgn="base">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6pPr>
      <a:lvl7pPr marL="914400" algn="l" defTabSz="457200" rtl="0" fontAlgn="base">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7pPr>
      <a:lvl8pPr marL="1371600" algn="l" defTabSz="457200" rtl="0" fontAlgn="base">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8pPr>
      <a:lvl9pPr marL="1828800" algn="l" defTabSz="457200" rtl="0" fontAlgn="base">
        <a:lnSpc>
          <a:spcPct val="90000"/>
        </a:lnSpc>
        <a:spcBef>
          <a:spcPct val="0"/>
        </a:spcBef>
        <a:spcAft>
          <a:spcPct val="0"/>
        </a:spcAft>
        <a:defRPr sz="2600" b="1">
          <a:solidFill>
            <a:srgbClr val="FFFFFF"/>
          </a:solidFill>
          <a:latin typeface="Rockwell" pitchFamily="18" charset="0"/>
          <a:ea typeface="Rockwell" pitchFamily="18" charset="0"/>
          <a:cs typeface="Rockwell" pitchFamily="18" charset="0"/>
        </a:defRPr>
      </a:lvl9pPr>
    </p:titleStyle>
    <p:bodyStyle>
      <a:lvl1pPr marL="342900" indent="-342900" algn="l" defTabSz="457200" rtl="0" eaLnBrk="0" fontAlgn="base" hangingPunct="0">
        <a:spcBef>
          <a:spcPct val="20000"/>
        </a:spcBef>
        <a:spcAft>
          <a:spcPct val="0"/>
        </a:spcAft>
        <a:buClr>
          <a:srgbClr val="7CC04B"/>
        </a:buClr>
        <a:buFont typeface="Arial" pitchFamily="34" charset="0"/>
        <a:buChar char="•"/>
        <a:defRPr sz="2000" kern="1200">
          <a:solidFill>
            <a:srgbClr val="404040"/>
          </a:solidFill>
          <a:latin typeface="+mn-lt"/>
          <a:ea typeface="+mn-ea"/>
          <a:cs typeface="+mn-cs"/>
        </a:defRPr>
      </a:lvl1pPr>
      <a:lvl2pPr marL="742950" indent="-285750" algn="l" defTabSz="457200" rtl="0" eaLnBrk="0" fontAlgn="base" hangingPunct="0">
        <a:spcBef>
          <a:spcPct val="20000"/>
        </a:spcBef>
        <a:spcAft>
          <a:spcPct val="0"/>
        </a:spcAft>
        <a:buClr>
          <a:srgbClr val="7CC04B"/>
        </a:buClr>
        <a:buFont typeface="Arial" pitchFamily="34" charset="0"/>
        <a:buChar char="•"/>
        <a:defRPr kern="1200">
          <a:solidFill>
            <a:srgbClr val="404040"/>
          </a:solidFill>
          <a:latin typeface="+mn-lt"/>
          <a:ea typeface="+mn-ea"/>
          <a:cs typeface="+mn-cs"/>
        </a:defRPr>
      </a:lvl2pPr>
      <a:lvl3pPr marL="1143000" indent="-228600" algn="l" defTabSz="457200" rtl="0" eaLnBrk="0" fontAlgn="base" hangingPunct="0">
        <a:spcBef>
          <a:spcPct val="20000"/>
        </a:spcBef>
        <a:spcAft>
          <a:spcPct val="0"/>
        </a:spcAft>
        <a:buClr>
          <a:srgbClr val="7CC04B"/>
        </a:buClr>
        <a:buFont typeface="Arial" pitchFamily="34" charset="0"/>
        <a:buChar char="•"/>
        <a:defRPr sz="1600" kern="1200">
          <a:solidFill>
            <a:srgbClr val="404040"/>
          </a:solidFill>
          <a:latin typeface="+mn-lt"/>
          <a:ea typeface="+mn-ea"/>
          <a:cs typeface="+mn-cs"/>
        </a:defRPr>
      </a:lvl3pPr>
      <a:lvl4pPr marL="1600200" indent="-228600" algn="l" defTabSz="457200" rtl="0" eaLnBrk="0" fontAlgn="base" hangingPunct="0">
        <a:spcBef>
          <a:spcPct val="20000"/>
        </a:spcBef>
        <a:spcAft>
          <a:spcPct val="0"/>
        </a:spcAft>
        <a:buClr>
          <a:srgbClr val="7CC04B"/>
        </a:buClr>
        <a:buFont typeface="Arial" pitchFamily="34" charset="0"/>
        <a:buChar char="•"/>
        <a:defRPr sz="1600" kern="1200">
          <a:solidFill>
            <a:srgbClr val="404040"/>
          </a:solidFill>
          <a:latin typeface="+mn-lt"/>
          <a:ea typeface="+mn-ea"/>
          <a:cs typeface="+mn-cs"/>
        </a:defRPr>
      </a:lvl4pPr>
      <a:lvl5pPr marL="2057400" indent="-228600" algn="l" defTabSz="457200" rtl="0" eaLnBrk="0" fontAlgn="base" hangingPunct="0">
        <a:spcBef>
          <a:spcPct val="20000"/>
        </a:spcBef>
        <a:spcAft>
          <a:spcPct val="0"/>
        </a:spcAft>
        <a:buClr>
          <a:srgbClr val="7CC04B"/>
        </a:buClr>
        <a:buFont typeface="Arial" pitchFamily="34" charset="0"/>
        <a:buChar char="•"/>
        <a:defRPr sz="1600" kern="1200">
          <a:solidFill>
            <a:srgbClr val="40404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57200" y="261563"/>
            <a:ext cx="8229600" cy="8503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9" name="Text Placeholder 12"/>
          <p:cNvSpPr>
            <a:spLocks noGrp="1"/>
          </p:cNvSpPr>
          <p:nvPr>
            <p:ph type="body" idx="1"/>
          </p:nvPr>
        </p:nvSpPr>
        <p:spPr bwMode="auto">
          <a:xfrm>
            <a:off x="457200" y="1280160"/>
            <a:ext cx="8229600" cy="47548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2"/>
            <a:endParaRPr lang="en-US" dirty="0" smtClean="0"/>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cs typeface="Arial" pitchFamily="34" charset="0"/>
            </a:endParaRPr>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cs typeface="Arial" pitchFamily="34" charset="0"/>
              </a:rPr>
              <a:pPr/>
              <a:t>‹#›</a:t>
            </a:fld>
            <a:endParaRPr lang="en-US" dirty="0">
              <a:solidFill>
                <a:srgbClr val="000000">
                  <a:lumMod val="60000"/>
                  <a:lumOff val="40000"/>
                </a:srgbClr>
              </a:solidFill>
              <a:cs typeface="Arial" pitchFamily="34" charset="0"/>
            </a:endParaRPr>
          </a:p>
        </p:txBody>
      </p:sp>
      <p:sp>
        <p:nvSpPr>
          <p:cNvPr id="10" name="Date Placeholder 8"/>
          <p:cNvSpPr>
            <a:spLocks noGrp="1"/>
          </p:cNvSpPr>
          <p:nvPr>
            <p:ph type="dt" sz="half" idx="2"/>
          </p:nvPr>
        </p:nvSpPr>
        <p:spPr>
          <a:xfrm>
            <a:off x="1828802" y="6428898"/>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86CFD4BA-42BE-4B38-9911-E47EAA4612BD}" type="datetime1">
              <a:rPr lang="en-US">
                <a:solidFill>
                  <a:srgbClr val="000000">
                    <a:lumMod val="60000"/>
                    <a:lumOff val="40000"/>
                  </a:srgbClr>
                </a:solidFill>
              </a:rPr>
              <a:pPr/>
              <a:t>10/22/2014</a:t>
            </a:fld>
            <a:endParaRPr dirty="0">
              <a:solidFill>
                <a:srgbClr val="000000">
                  <a:lumMod val="60000"/>
                  <a:lumOff val="40000"/>
                </a:srgbClr>
              </a:solidFill>
            </a:endParaRPr>
          </a:p>
        </p:txBody>
      </p:sp>
      <p:pic>
        <p:nvPicPr>
          <p:cNvPr id="9" name="Picture 3" descr="C:\Users\sshelley\Documents\Dell Integration\Dell-SecureWorks-Logo-LtGray.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34473" y="6264355"/>
            <a:ext cx="1449611" cy="521208"/>
          </a:xfrm>
          <a:prstGeom prst="rect">
            <a:avLst/>
          </a:prstGeom>
          <a:noFill/>
          <a:extLst>
            <a:ext uri="{909E8E84-426E-40DD-AFC4-6F175D3DCCD1}">
              <a14:hiddenFill xmlns:a14="http://schemas.microsoft.com/office/drawing/2010/main">
                <a:solidFill>
                  <a:srgbClr val="FFFFFF"/>
                </a:solidFill>
              </a14:hiddenFill>
            </a:ext>
          </a:extLst>
        </p:spPr>
      </p:pic>
      <p:sp>
        <p:nvSpPr>
          <p:cNvPr id="2" name="fc"/>
          <p:cNvSpPr txBox="1"/>
          <p:nvPr/>
        </p:nvSpPr>
        <p:spPr>
          <a:xfrm>
            <a:off x="0" y="6671056"/>
            <a:ext cx="9144000" cy="216982"/>
          </a:xfrm>
          <a:prstGeom prst="rect">
            <a:avLst/>
          </a:prstGeom>
          <a:noFill/>
        </p:spPr>
        <p:txBody>
          <a:bodyPr vert="horz" wrap="square" rtlCol="0">
            <a:spAutoFit/>
          </a:bodyPr>
          <a:lstStyle/>
          <a:p>
            <a:pPr marL="233363" indent="-233363" algn="ctr" fontAlgn="auto">
              <a:lnSpc>
                <a:spcPct val="90000"/>
              </a:lnSpc>
              <a:spcBef>
                <a:spcPts val="100"/>
              </a:spcBef>
              <a:spcAft>
                <a:spcPts val="100"/>
              </a:spcAft>
              <a:buClr>
                <a:srgbClr val="0085C3"/>
              </a:buClr>
              <a:buFont typeface="Arial" pitchFamily="34" charset="0"/>
              <a:buChar char="•"/>
            </a:pPr>
            <a:endParaRPr lang="en-US" sz="900" b="0" i="0" u="none" baseline="0" dirty="0" smtClean="0">
              <a:solidFill>
                <a:srgbClr val="1F497D"/>
              </a:solidFill>
              <a:latin typeface="arial unicode ms"/>
            </a:endParaRPr>
          </a:p>
        </p:txBody>
      </p:sp>
    </p:spTree>
    <p:extLst>
      <p:ext uri="{BB962C8B-B14F-4D97-AF65-F5344CB8AC3E}">
        <p14:creationId xmlns:p14="http://schemas.microsoft.com/office/powerpoint/2010/main" val="876444503"/>
      </p:ext>
    </p:extLst>
  </p:cSld>
  <p:clrMap bg1="dk2" tx1="lt1" bg2="dk1" tx2="lt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 id="2147484391" r:id="rId10"/>
    <p:sldLayoutId id="2147484392" r:id="rId11"/>
    <p:sldLayoutId id="2147484393" r:id="rId12"/>
    <p:sldLayoutId id="2147484394" r:id="rId13"/>
    <p:sldLayoutId id="2147484395" r:id="rId14"/>
    <p:sldLayoutId id="2147484396" r:id="rId15"/>
    <p:sldLayoutId id="2147484397" r:id="rId16"/>
    <p:sldLayoutId id="2147484398" r:id="rId17"/>
    <p:sldLayoutId id="2147484399" r:id="rId18"/>
    <p:sldLayoutId id="2147484400" r:id="rId19"/>
    <p:sldLayoutId id="2147484401" r:id="rId20"/>
    <p:sldLayoutId id="2147484402" r:id="rId21"/>
    <p:sldLayoutId id="2147484403" r:id="rId22"/>
    <p:sldLayoutId id="2147484404" r:id="rId23"/>
    <p:sldLayoutId id="2147484405" r:id="rId24"/>
    <p:sldLayoutId id="2147484406" r:id="rId25"/>
    <p:sldLayoutId id="2147484407" r:id="rId26"/>
  </p:sldLayoutIdLst>
  <p:transition spd="med">
    <p:wipe dir="r"/>
  </p:transition>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20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8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4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57200" y="261562"/>
            <a:ext cx="8229600" cy="8503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9" name="Text Placeholder 12"/>
          <p:cNvSpPr>
            <a:spLocks noGrp="1"/>
          </p:cNvSpPr>
          <p:nvPr>
            <p:ph type="body" idx="1"/>
          </p:nvPr>
        </p:nvSpPr>
        <p:spPr bwMode="auto">
          <a:xfrm>
            <a:off x="457200" y="1280160"/>
            <a:ext cx="8229600" cy="47548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2"/>
            <a:endParaRPr lang="en-US" dirty="0" smtClean="0"/>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8" name="Slide Number Placeholder 5"/>
          <p:cNvSpPr>
            <a:spLocks noGrp="1"/>
          </p:cNvSpPr>
          <p:nvPr>
            <p:ph type="sldNum" sz="quarter" idx="4"/>
          </p:nvPr>
        </p:nvSpPr>
        <p:spPr>
          <a:xfrm>
            <a:off x="435536" y="6431527"/>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0" name="Date Placeholder 8"/>
          <p:cNvSpPr>
            <a:spLocks noGrp="1"/>
          </p:cNvSpPr>
          <p:nvPr>
            <p:ph type="dt" sz="half" idx="2"/>
          </p:nvPr>
        </p:nvSpPr>
        <p:spPr>
          <a:xfrm>
            <a:off x="1828800" y="6428896"/>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496D0BA0-97A1-4BC8-8CF3-B745440C6559}" type="datetime1">
              <a:rPr lang="en-US">
                <a:solidFill>
                  <a:srgbClr val="000000">
                    <a:lumMod val="60000"/>
                    <a:lumOff val="40000"/>
                  </a:srgbClr>
                </a:solidFill>
              </a:rPr>
              <a:pPr/>
              <a:t>10/22/2014</a:t>
            </a:fld>
            <a:endParaRPr dirty="0">
              <a:solidFill>
                <a:srgbClr val="000000">
                  <a:lumMod val="60000"/>
                  <a:lumOff val="40000"/>
                </a:srgbClr>
              </a:solidFill>
            </a:endParaRPr>
          </a:p>
        </p:txBody>
      </p:sp>
      <p:pic>
        <p:nvPicPr>
          <p:cNvPr id="9" name="Picture 3"/>
          <p:cNvPicPr>
            <a:picLocks noChangeAspect="1" noChangeArrowheads="1"/>
          </p:cNvPicPr>
          <p:nvPr/>
        </p:nvPicPr>
        <p:blipFill>
          <a:blip cstate="print">
            <a:extLst>
              <a:ext uri="{28A0092B-C50C-407E-A947-70E740481C1C}">
                <a14:useLocalDpi xmlns:a14="http://schemas.microsoft.com/office/drawing/2010/main" val="0"/>
              </a:ext>
            </a:extLst>
          </a:blip>
          <a:stretch>
            <a:fillRect/>
          </a:stretch>
        </p:blipFill>
        <p:spPr bwMode="auto">
          <a:xfrm>
            <a:off x="7234471" y="6283357"/>
            <a:ext cx="1449611" cy="483203"/>
          </a:xfrm>
          <a:prstGeom prst="rect">
            <a:avLst/>
          </a:prstGeom>
          <a:noFill/>
          <a:extLst>
            <a:ext uri="{909E8E84-426E-40DD-AFC4-6F175D3DCCD1}">
              <a14:hiddenFill xmlns:a14="http://schemas.microsoft.com/office/drawing/2010/main">
                <a:solidFill>
                  <a:srgbClr val="FFFFFF"/>
                </a:solidFill>
              </a14:hiddenFill>
            </a:ext>
          </a:extLst>
        </p:spPr>
      </p:pic>
      <p:sp>
        <p:nvSpPr>
          <p:cNvPr id="2" name="fc"/>
          <p:cNvSpPr txBox="1"/>
          <p:nvPr/>
        </p:nvSpPr>
        <p:spPr>
          <a:xfrm>
            <a:off x="0" y="6671056"/>
            <a:ext cx="9144000" cy="216982"/>
          </a:xfrm>
          <a:prstGeom prst="rect">
            <a:avLst/>
          </a:prstGeom>
          <a:noFill/>
        </p:spPr>
        <p:txBody>
          <a:bodyPr vert="horz" wrap="square" rtlCol="0">
            <a:spAutoFit/>
          </a:bodyPr>
          <a:lstStyle/>
          <a:p>
            <a:pPr marL="233363" indent="-233363" algn="ctr">
              <a:lnSpc>
                <a:spcPct val="90000"/>
              </a:lnSpc>
              <a:spcBef>
                <a:spcPts val="100"/>
              </a:spcBef>
              <a:spcAft>
                <a:spcPts val="100"/>
              </a:spcAft>
              <a:buClr>
                <a:srgbClr val="0085C3"/>
              </a:buClr>
              <a:buFont typeface="Arial" pitchFamily="34" charset="0"/>
              <a:buChar char="•"/>
            </a:pPr>
            <a:endParaRPr lang="en-US" sz="900" b="0" i="0" u="none" baseline="0" dirty="0" smtClean="0">
              <a:solidFill>
                <a:srgbClr val="1F497D"/>
              </a:solidFill>
              <a:latin typeface="arial unicode ms"/>
            </a:endParaRPr>
          </a:p>
        </p:txBody>
      </p:sp>
    </p:spTree>
    <p:extLst>
      <p:ext uri="{BB962C8B-B14F-4D97-AF65-F5344CB8AC3E}">
        <p14:creationId xmlns:p14="http://schemas.microsoft.com/office/powerpoint/2010/main" val="1688728863"/>
      </p:ext>
    </p:extLst>
  </p:cSld>
  <p:clrMap bg1="dk2" tx1="lt1" bg2="dk1" tx2="lt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Lst>
  <p:transition spd="med">
    <p:wipe dir="r"/>
  </p:transition>
  <p:timing>
    <p:tnLst>
      <p:par>
        <p:cTn id="1" dur="indefinite" restart="never" nodeType="tmRoot"/>
      </p:par>
    </p:tnLst>
  </p:timing>
  <p:hf hdr="0"/>
  <p:txStyles>
    <p:titleStyle>
      <a:lvl1pPr algn="l" rtl="0" eaLnBrk="1" fontAlgn="base" hangingPunct="1">
        <a:lnSpc>
          <a:spcPct val="90000"/>
        </a:lnSpc>
        <a:spcBef>
          <a:spcPct val="0"/>
        </a:spcBef>
        <a:spcAft>
          <a:spcPct val="0"/>
        </a:spcAft>
        <a:defRPr sz="3200" b="0" cap="none" baseline="0">
          <a:solidFill>
            <a:schemeClr val="accent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20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8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4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57200" y="261563"/>
            <a:ext cx="8229600" cy="8503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9" name="Text Placeholder 12"/>
          <p:cNvSpPr>
            <a:spLocks noGrp="1"/>
          </p:cNvSpPr>
          <p:nvPr>
            <p:ph type="body" idx="1"/>
          </p:nvPr>
        </p:nvSpPr>
        <p:spPr bwMode="auto">
          <a:xfrm>
            <a:off x="457200" y="1280160"/>
            <a:ext cx="8229600" cy="47548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2"/>
            <a:endParaRPr lang="en-US" dirty="0" smtClean="0"/>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cs typeface="Arial" pitchFamily="34" charset="0"/>
            </a:endParaRPr>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cs typeface="Arial" pitchFamily="34" charset="0"/>
              </a:rPr>
              <a:pPr/>
              <a:t>‹#›</a:t>
            </a:fld>
            <a:endParaRPr lang="en-US" dirty="0">
              <a:solidFill>
                <a:srgbClr val="000000">
                  <a:lumMod val="60000"/>
                  <a:lumOff val="40000"/>
                </a:srgbClr>
              </a:solidFill>
              <a:cs typeface="Arial" pitchFamily="34" charset="0"/>
            </a:endParaRPr>
          </a:p>
        </p:txBody>
      </p:sp>
      <p:sp>
        <p:nvSpPr>
          <p:cNvPr id="10" name="Date Placeholder 8"/>
          <p:cNvSpPr>
            <a:spLocks noGrp="1"/>
          </p:cNvSpPr>
          <p:nvPr>
            <p:ph type="dt" sz="half" idx="2"/>
          </p:nvPr>
        </p:nvSpPr>
        <p:spPr>
          <a:xfrm>
            <a:off x="1828802" y="6428898"/>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86CFD4BA-42BE-4B38-9911-E47EAA4612BD}" type="datetime1">
              <a:rPr lang="en-US">
                <a:solidFill>
                  <a:srgbClr val="000000">
                    <a:lumMod val="60000"/>
                    <a:lumOff val="40000"/>
                  </a:srgbClr>
                </a:solidFill>
              </a:rPr>
              <a:pPr/>
              <a:t>10/22/2014</a:t>
            </a:fld>
            <a:endParaRPr dirty="0">
              <a:solidFill>
                <a:srgbClr val="000000">
                  <a:lumMod val="60000"/>
                  <a:lumOff val="40000"/>
                </a:srgbClr>
              </a:solidFill>
            </a:endParaRPr>
          </a:p>
        </p:txBody>
      </p:sp>
      <p:pic>
        <p:nvPicPr>
          <p:cNvPr id="9" name="Picture 3" descr="C:\Users\sshelley\Documents\Dell Integration\Dell-SecureWorks-Logo-LtGray.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34473" y="6264355"/>
            <a:ext cx="1449611" cy="521208"/>
          </a:xfrm>
          <a:prstGeom prst="rect">
            <a:avLst/>
          </a:prstGeom>
          <a:noFill/>
          <a:extLst>
            <a:ext uri="{909E8E84-426E-40DD-AFC4-6F175D3DCCD1}">
              <a14:hiddenFill xmlns:a14="http://schemas.microsoft.com/office/drawing/2010/main">
                <a:solidFill>
                  <a:srgbClr val="FFFFFF"/>
                </a:solidFill>
              </a14:hiddenFill>
            </a:ext>
          </a:extLst>
        </p:spPr>
      </p:pic>
      <p:sp>
        <p:nvSpPr>
          <p:cNvPr id="2" name="fc"/>
          <p:cNvSpPr txBox="1"/>
          <p:nvPr/>
        </p:nvSpPr>
        <p:spPr>
          <a:xfrm>
            <a:off x="0" y="6671056"/>
            <a:ext cx="9144000" cy="216982"/>
          </a:xfrm>
          <a:prstGeom prst="rect">
            <a:avLst/>
          </a:prstGeom>
          <a:noFill/>
        </p:spPr>
        <p:txBody>
          <a:bodyPr vert="horz" wrap="square" rtlCol="0">
            <a:spAutoFit/>
          </a:bodyPr>
          <a:lstStyle/>
          <a:p>
            <a:pPr marL="233363" indent="-233363" algn="ctr" fontAlgn="auto">
              <a:lnSpc>
                <a:spcPct val="90000"/>
              </a:lnSpc>
              <a:spcBef>
                <a:spcPts val="100"/>
              </a:spcBef>
              <a:spcAft>
                <a:spcPts val="100"/>
              </a:spcAft>
              <a:buClr>
                <a:srgbClr val="0085C3"/>
              </a:buClr>
              <a:buFont typeface="Arial" pitchFamily="34" charset="0"/>
              <a:buChar char="•"/>
            </a:pPr>
            <a:endParaRPr lang="en-US" sz="900" b="0" i="0" u="none" baseline="0" dirty="0" smtClean="0">
              <a:solidFill>
                <a:srgbClr val="1F497D"/>
              </a:solidFill>
              <a:latin typeface="arial unicode ms"/>
            </a:endParaRPr>
          </a:p>
        </p:txBody>
      </p:sp>
    </p:spTree>
    <p:extLst>
      <p:ext uri="{BB962C8B-B14F-4D97-AF65-F5344CB8AC3E}">
        <p14:creationId xmlns:p14="http://schemas.microsoft.com/office/powerpoint/2010/main" val="2209371019"/>
      </p:ext>
    </p:extLst>
  </p:cSld>
  <p:clrMap bg1="dk2" tx1="lt1" bg2="dk1" tx2="lt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 id="2147484436" r:id="rId12"/>
    <p:sldLayoutId id="2147484437" r:id="rId13"/>
    <p:sldLayoutId id="2147484438" r:id="rId14"/>
    <p:sldLayoutId id="2147484439" r:id="rId15"/>
    <p:sldLayoutId id="2147484440" r:id="rId16"/>
    <p:sldLayoutId id="2147484441" r:id="rId17"/>
    <p:sldLayoutId id="2147484442" r:id="rId18"/>
    <p:sldLayoutId id="2147484443" r:id="rId19"/>
    <p:sldLayoutId id="2147484444" r:id="rId20"/>
    <p:sldLayoutId id="2147484445" r:id="rId21"/>
    <p:sldLayoutId id="2147484446" r:id="rId22"/>
    <p:sldLayoutId id="2147484447" r:id="rId23"/>
    <p:sldLayoutId id="2147484448" r:id="rId24"/>
    <p:sldLayoutId id="2147484449" r:id="rId25"/>
    <p:sldLayoutId id="2147484450" r:id="rId26"/>
  </p:sldLayoutIdLst>
  <p:transition spd="med">
    <p:wipe dir="r"/>
  </p:transition>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20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8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4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57200" y="261563"/>
            <a:ext cx="8229600" cy="8503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9" name="Text Placeholder 12"/>
          <p:cNvSpPr>
            <a:spLocks noGrp="1"/>
          </p:cNvSpPr>
          <p:nvPr>
            <p:ph type="body" idx="1"/>
          </p:nvPr>
        </p:nvSpPr>
        <p:spPr bwMode="auto">
          <a:xfrm>
            <a:off x="457200" y="1280160"/>
            <a:ext cx="8229600" cy="47548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2"/>
            <a:endParaRPr lang="en-US" dirty="0" smtClean="0"/>
          </a:p>
        </p:txBody>
      </p:sp>
      <p:sp>
        <p:nvSpPr>
          <p:cNvPr id="7" name="Footer Placeholder 4"/>
          <p:cNvSpPr>
            <a:spLocks noGrp="1"/>
          </p:cNvSpPr>
          <p:nvPr>
            <p:ph type="ftr" sz="quarter" idx="3"/>
          </p:nvPr>
        </p:nvSpPr>
        <p:spPr>
          <a:xfrm>
            <a:off x="742950" y="6429375"/>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b="1" dirty="0" smtClean="0">
                <a:solidFill>
                  <a:srgbClr val="000000">
                    <a:lumMod val="60000"/>
                    <a:lumOff val="40000"/>
                  </a:srgbClr>
                </a:solidFill>
                <a:cs typeface="Arial" charset="0"/>
              </a:rPr>
              <a:t>Confidential</a:t>
            </a:r>
            <a:endParaRPr lang="en-US" b="1" dirty="0">
              <a:solidFill>
                <a:srgbClr val="000000">
                  <a:lumMod val="60000"/>
                  <a:lumOff val="40000"/>
                </a:srgbClr>
              </a:solidFill>
              <a:cs typeface="Arial" charset="0"/>
            </a:endParaRPr>
          </a:p>
        </p:txBody>
      </p:sp>
      <p:sp>
        <p:nvSpPr>
          <p:cNvPr id="8" name="Slide Number Placeholder 5"/>
          <p:cNvSpPr>
            <a:spLocks noGrp="1"/>
          </p:cNvSpPr>
          <p:nvPr>
            <p:ph type="sldNum" sz="quarter" idx="4"/>
          </p:nvPr>
        </p:nvSpPr>
        <p:spPr>
          <a:xfrm>
            <a:off x="435538" y="6431529"/>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b="1" smtClean="0">
                <a:solidFill>
                  <a:srgbClr val="000000">
                    <a:lumMod val="60000"/>
                    <a:lumOff val="40000"/>
                  </a:srgbClr>
                </a:solidFill>
                <a:cs typeface="Arial" charset="0"/>
              </a:rPr>
              <a:pPr/>
              <a:t>‹#›</a:t>
            </a:fld>
            <a:endParaRPr lang="en-US" b="1" dirty="0">
              <a:solidFill>
                <a:srgbClr val="000000">
                  <a:lumMod val="60000"/>
                  <a:lumOff val="40000"/>
                </a:srgbClr>
              </a:solidFill>
              <a:cs typeface="Arial" charset="0"/>
            </a:endParaRPr>
          </a:p>
        </p:txBody>
      </p:sp>
      <p:sp>
        <p:nvSpPr>
          <p:cNvPr id="10" name="Date Placeholder 8"/>
          <p:cNvSpPr>
            <a:spLocks noGrp="1"/>
          </p:cNvSpPr>
          <p:nvPr>
            <p:ph type="dt" sz="half" idx="2"/>
          </p:nvPr>
        </p:nvSpPr>
        <p:spPr>
          <a:xfrm>
            <a:off x="1828802" y="6428898"/>
            <a:ext cx="914401" cy="152399"/>
          </a:xfrm>
          <a:prstGeom prst="rect">
            <a:avLst/>
          </a:prstGeom>
        </p:spPr>
        <p:txBody>
          <a:bodyPr vert="horz" lIns="91440" tIns="45720" rIns="91440" bIns="4572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496D0BA0-97A1-4BC8-8CF3-B745440C6559}" type="datetime1">
              <a:rPr lang="en-US" b="1">
                <a:solidFill>
                  <a:srgbClr val="000000">
                    <a:lumMod val="60000"/>
                    <a:lumOff val="40000"/>
                  </a:srgbClr>
                </a:solidFill>
              </a:rPr>
              <a:pPr/>
              <a:t>10/22/2014</a:t>
            </a:fld>
            <a:endParaRPr b="1" dirty="0">
              <a:solidFill>
                <a:srgbClr val="000000">
                  <a:lumMod val="60000"/>
                  <a:lumOff val="40000"/>
                </a:srgbClr>
              </a:solidFill>
            </a:endParaRPr>
          </a:p>
        </p:txBody>
      </p:sp>
      <p:pic>
        <p:nvPicPr>
          <p:cNvPr id="9" name="Picture 3" descr="C:\Users\sshelley\Documents\Dell Integration\Dell-SecureWorks-Logo-LtGray.jp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234473" y="6264355"/>
            <a:ext cx="1449611" cy="521208"/>
          </a:xfrm>
          <a:prstGeom prst="rect">
            <a:avLst/>
          </a:prstGeom>
          <a:noFill/>
          <a:extLst>
            <a:ext uri="{909E8E84-426E-40DD-AFC4-6F175D3DCCD1}">
              <a14:hiddenFill xmlns:a14="http://schemas.microsoft.com/office/drawing/2010/main">
                <a:solidFill>
                  <a:srgbClr val="FFFFFF"/>
                </a:solidFill>
              </a14:hiddenFill>
            </a:ext>
          </a:extLst>
        </p:spPr>
      </p:pic>
      <p:sp>
        <p:nvSpPr>
          <p:cNvPr id="2" name="fc"/>
          <p:cNvSpPr txBox="1"/>
          <p:nvPr/>
        </p:nvSpPr>
        <p:spPr>
          <a:xfrm>
            <a:off x="0" y="6671056"/>
            <a:ext cx="9144000" cy="216982"/>
          </a:xfrm>
          <a:prstGeom prst="rect">
            <a:avLst/>
          </a:prstGeom>
          <a:noFill/>
        </p:spPr>
        <p:txBody>
          <a:bodyPr vert="horz" wrap="square" rtlCol="0">
            <a:spAutoFit/>
          </a:bodyPr>
          <a:lstStyle/>
          <a:p>
            <a:pPr marL="233363" indent="-233363" algn="ctr" fontAlgn="auto">
              <a:lnSpc>
                <a:spcPct val="90000"/>
              </a:lnSpc>
              <a:spcBef>
                <a:spcPts val="100"/>
              </a:spcBef>
              <a:spcAft>
                <a:spcPts val="100"/>
              </a:spcAft>
              <a:buClr>
                <a:srgbClr val="0085C3"/>
              </a:buClr>
              <a:buFont typeface="Arial" pitchFamily="34" charset="0"/>
              <a:buChar char="•"/>
            </a:pPr>
            <a:endParaRPr lang="en-US" sz="900" b="0" i="0" u="none" baseline="0" dirty="0" smtClean="0">
              <a:solidFill>
                <a:srgbClr val="1F497D"/>
              </a:solidFill>
              <a:latin typeface="arial unicode ms"/>
            </a:endParaRPr>
          </a:p>
        </p:txBody>
      </p:sp>
    </p:spTree>
    <p:extLst>
      <p:ext uri="{BB962C8B-B14F-4D97-AF65-F5344CB8AC3E}">
        <p14:creationId xmlns:p14="http://schemas.microsoft.com/office/powerpoint/2010/main" val="3581931858"/>
      </p:ext>
    </p:extLst>
  </p:cSld>
  <p:clrMap bg1="dk2" tx1="lt1" bg2="dk1" tx2="lt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 id="2147484462" r:id="rId11"/>
    <p:sldLayoutId id="2147484463" r:id="rId12"/>
    <p:sldLayoutId id="2147484464" r:id="rId13"/>
    <p:sldLayoutId id="2147484466" r:id="rId14"/>
  </p:sldLayoutIdLst>
  <p:transition spd="med">
    <p:wipe dir="r"/>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20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8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4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p:nvSpPr>
        <p:spPr>
          <a:xfrm>
            <a:off x="2473158" y="6915929"/>
            <a:ext cx="914400" cy="1219200"/>
          </a:xfrm>
          <a:prstGeom prst="rect">
            <a:avLst/>
          </a:prstGeom>
          <a:noFill/>
        </p:spPr>
        <p:txBody>
          <a:bodyPr wrap="none" lIns="0" tIns="0" rIns="0" bIns="0" rtlCol="0">
            <a:noAutofit/>
          </a:bodyPr>
          <a:lstStyle/>
          <a:p>
            <a:pPr marL="180975" indent="-180975" defTabSz="641909" fontAlgn="auto">
              <a:spcBef>
                <a:spcPts val="200"/>
              </a:spcBef>
              <a:spcAft>
                <a:spcPts val="200"/>
              </a:spcAft>
              <a:buClr>
                <a:srgbClr val="01A1E7"/>
              </a:buClr>
              <a:buSzPct val="70000"/>
              <a:buFont typeface="Wingdings" pitchFamily="2" charset="2"/>
              <a:buChar char="n"/>
            </a:pPr>
            <a:endParaRPr lang="en-US" sz="1600" dirty="0" err="1">
              <a:solidFill>
                <a:srgbClr val="111111"/>
              </a:solidFill>
              <a:latin typeface="Trebuchet MS"/>
            </a:endParaRPr>
          </a:p>
        </p:txBody>
      </p:sp>
      <p:sp>
        <p:nvSpPr>
          <p:cNvPr id="5" name="Rectangle 4"/>
          <p:cNvSpPr/>
          <p:nvPr/>
        </p:nvSpPr>
        <p:spPr>
          <a:xfrm>
            <a:off x="232698" y="6578630"/>
            <a:ext cx="1672302" cy="247863"/>
          </a:xfrm>
          <a:prstGeom prst="rect">
            <a:avLst/>
          </a:prstGeom>
        </p:spPr>
        <p:txBody>
          <a:bodyPr vert="horz" lIns="0" tIns="18000" rIns="0" bIns="0" rtlCol="0" anchor="t"/>
          <a:lstStyle/>
          <a:p>
            <a:pPr defTabSz="641909" fontAlgn="auto">
              <a:spcBef>
                <a:spcPts val="0"/>
              </a:spcBef>
              <a:spcAft>
                <a:spcPts val="0"/>
              </a:spcAft>
            </a:pPr>
            <a:r>
              <a:rPr lang="en-US" sz="608" dirty="0">
                <a:solidFill>
                  <a:srgbClr val="505050"/>
                </a:solidFill>
                <a:latin typeface="Trebuchet MS"/>
              </a:rPr>
              <a:t>© Electric Cloud  |  </a:t>
            </a:r>
            <a:r>
              <a:rPr lang="en-US" sz="608" dirty="0" err="1">
                <a:solidFill>
                  <a:srgbClr val="505050"/>
                </a:solidFill>
                <a:latin typeface="Trebuchet MS"/>
              </a:rPr>
              <a:t>www.electric-cloud.com</a:t>
            </a:r>
            <a:endParaRPr lang="de-DE" sz="608" dirty="0">
              <a:solidFill>
                <a:srgbClr val="505050"/>
              </a:solidFill>
              <a:latin typeface="Trebuchet MS"/>
            </a:endParaRPr>
          </a:p>
        </p:txBody>
      </p:sp>
      <p:pic>
        <p:nvPicPr>
          <p:cNvPr id="9" name="Picture 8"/>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7696214" y="6491757"/>
            <a:ext cx="1246037" cy="243840"/>
          </a:xfrm>
          <a:prstGeom prst="rect">
            <a:avLst/>
          </a:prstGeom>
        </p:spPr>
      </p:pic>
      <p:sp>
        <p:nvSpPr>
          <p:cNvPr id="3" name="fc"/>
          <p:cNvSpPr txBox="1"/>
          <p:nvPr/>
        </p:nvSpPr>
        <p:spPr>
          <a:xfrm>
            <a:off x="0" y="6657340"/>
            <a:ext cx="9144000" cy="0"/>
          </a:xfrm>
          <a:prstGeom prst="rect">
            <a:avLst/>
          </a:prstGeom>
          <a:noFill/>
        </p:spPr>
        <p:txBody>
          <a:bodyPr vert="horz" wrap="square" lIns="0" tIns="0" rIns="0" bIns="0" rtlCol="0">
            <a:noAutofit/>
          </a:bodyPr>
          <a:lstStyle/>
          <a:p>
            <a:pPr marL="180975" indent="-180975" algn="ctr">
              <a:spcBef>
                <a:spcPts val="200"/>
              </a:spcBef>
              <a:spcAft>
                <a:spcPts val="200"/>
              </a:spcAft>
              <a:buClr>
                <a:schemeClr val="accent1"/>
              </a:buClr>
              <a:buSzPct val="70000"/>
              <a:buFont typeface="Wingdings" pitchFamily="2" charset="2"/>
              <a:buChar char="n"/>
            </a:pPr>
            <a:endParaRPr lang="en-US" sz="900" b="0" i="0" u="none" baseline="0" dirty="0" err="1" smtClean="0">
              <a:solidFill>
                <a:srgbClr val="1F497D"/>
              </a:solidFill>
              <a:latin typeface="arial unicode ms"/>
            </a:endParaRPr>
          </a:p>
        </p:txBody>
      </p:sp>
    </p:spTree>
    <p:extLst>
      <p:ext uri="{BB962C8B-B14F-4D97-AF65-F5344CB8AC3E}">
        <p14:creationId xmlns:p14="http://schemas.microsoft.com/office/powerpoint/2010/main" val="3050879940"/>
      </p:ext>
    </p:extLst>
  </p:cSld>
  <p:clrMap bg1="lt1" tx1="dk1" bg2="lt2" tx2="dk2" accent1="accent1" accent2="accent2" accent3="accent3" accent4="accent4" accent5="accent5" accent6="accent6" hlink="hlink" folHlink="folHlink"/>
  <p:sldLayoutIdLst>
    <p:sldLayoutId id="2147484468" r:id="rId1"/>
    <p:sldLayoutId id="2147484469" r:id="rId2"/>
    <p:sldLayoutId id="2147484470" r:id="rId3"/>
    <p:sldLayoutId id="2147484471" r:id="rId4"/>
    <p:sldLayoutId id="2147484472" r:id="rId5"/>
    <p:sldLayoutId id="2147484473" r:id="rId6"/>
    <p:sldLayoutId id="2147484474" r:id="rId7"/>
    <p:sldLayoutId id="2147484475" r:id="rId8"/>
    <p:sldLayoutId id="2147484476" r:id="rId9"/>
    <p:sldLayoutId id="2147484477" r:id="rId10"/>
    <p:sldLayoutId id="2147484478" r:id="rId11"/>
    <p:sldLayoutId id="2147484479" r:id="rId12"/>
    <p:sldLayoutId id="2147484480" r:id="rId13"/>
    <p:sldLayoutId id="2147484481" r:id="rId14"/>
    <p:sldLayoutId id="2147484482" r:id="rId15"/>
    <p:sldLayoutId id="2147484483" r:id="rId16"/>
    <p:sldLayoutId id="2147484484" r:id="rId17"/>
    <p:sldLayoutId id="2147484485" r:id="rId18"/>
    <p:sldLayoutId id="2147484486" r:id="rId19"/>
    <p:sldLayoutId id="2147484487" r:id="rId20"/>
    <p:sldLayoutId id="2147484488" r:id="rId21"/>
    <p:sldLayoutId id="2147484489" r:id="rId22"/>
    <p:sldLayoutId id="2147484490" r:id="rId23"/>
    <p:sldLayoutId id="2147484491" r:id="rId24"/>
    <p:sldLayoutId id="2147484492" r:id="rId25"/>
    <p:sldLayoutId id="2147484493" r:id="rId26"/>
    <p:sldLayoutId id="2147484494" r:id="rId27"/>
    <p:sldLayoutId id="2147484495" r:id="rId28"/>
    <p:sldLayoutId id="2147484496" r:id="rId2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p:txStyles>
    <p:titleStyle>
      <a:lvl1pPr algn="l" defTabSz="617220" rtl="0" eaLnBrk="1" latinLnBrk="0" hangingPunct="1">
        <a:spcBef>
          <a:spcPct val="0"/>
        </a:spcBef>
        <a:buNone/>
        <a:defRPr sz="2400" b="1" kern="1200">
          <a:solidFill>
            <a:schemeClr val="accent1"/>
          </a:solidFill>
          <a:latin typeface="+mj-lt"/>
          <a:ea typeface="+mj-ea"/>
          <a:cs typeface="+mj-cs"/>
        </a:defRPr>
      </a:lvl1pPr>
    </p:titleStyle>
    <p:bodyStyle>
      <a:lvl1pPr marL="0" marR="0" indent="0" algn="l" defTabSz="617220" rtl="0" eaLnBrk="1" fontAlgn="auto" latinLnBrk="0" hangingPunct="1">
        <a:lnSpc>
          <a:spcPct val="100000"/>
        </a:lnSpc>
        <a:spcBef>
          <a:spcPts val="135"/>
        </a:spcBef>
        <a:spcAft>
          <a:spcPts val="135"/>
        </a:spcAft>
        <a:buClrTx/>
        <a:buSzTx/>
        <a:buFont typeface="Arial" pitchFamily="34" charset="0"/>
        <a:buNone/>
        <a:tabLst/>
        <a:defRPr sz="2200" kern="1200" baseline="0">
          <a:solidFill>
            <a:srgbClr val="5F5F5F"/>
          </a:solidFill>
          <a:latin typeface="+mn-lt"/>
          <a:ea typeface="+mn-ea"/>
          <a:cs typeface="+mn-cs"/>
        </a:defRPr>
      </a:lvl1pPr>
      <a:lvl2pPr marL="157163" marR="0" indent="-157163"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2000" b="0" kern="1200">
          <a:solidFill>
            <a:srgbClr val="5F5F5F"/>
          </a:solidFill>
          <a:latin typeface="+mn-lt"/>
          <a:ea typeface="+mn-ea"/>
          <a:cs typeface="+mn-cs"/>
        </a:defRPr>
      </a:lvl2pPr>
      <a:lvl3pPr marL="398463" marR="0" indent="-168275" algn="l" defTabSz="617220" rtl="0" eaLnBrk="1" fontAlgn="auto" latinLnBrk="0" hangingPunct="1">
        <a:lnSpc>
          <a:spcPct val="100000"/>
        </a:lnSpc>
        <a:spcBef>
          <a:spcPts val="135"/>
        </a:spcBef>
        <a:spcAft>
          <a:spcPts val="135"/>
        </a:spcAft>
        <a:buClr>
          <a:srgbClr val="01A1E7"/>
        </a:buClr>
        <a:buSzPct val="70000"/>
        <a:buFont typeface="Wingdings" panose="05000000000000000000" pitchFamily="2" charset="2"/>
        <a:buChar char="§"/>
        <a:tabLst/>
        <a:defRPr sz="2000" kern="1200">
          <a:solidFill>
            <a:srgbClr val="5F5F5F"/>
          </a:solidFill>
          <a:latin typeface="+mn-lt"/>
          <a:ea typeface="+mn-ea"/>
          <a:cs typeface="+mn-cs"/>
        </a:defRPr>
      </a:lvl3pPr>
      <a:lvl4pPr marL="630238" marR="0" indent="-168275" algn="l" defTabSz="617220" rtl="0" eaLnBrk="1" fontAlgn="auto" latinLnBrk="0" hangingPunct="1">
        <a:lnSpc>
          <a:spcPct val="100000"/>
        </a:lnSpc>
        <a:spcBef>
          <a:spcPts val="135"/>
        </a:spcBef>
        <a:spcAft>
          <a:spcPts val="135"/>
        </a:spcAft>
        <a:buClr>
          <a:srgbClr val="01A1E7"/>
        </a:buClr>
        <a:buSzPct val="70000"/>
        <a:buFont typeface="Courier New" panose="02070309020205020404" pitchFamily="49" charset="0"/>
        <a:buChar char="o"/>
        <a:tabLst/>
        <a:defRPr sz="1800" kern="1200">
          <a:solidFill>
            <a:srgbClr val="5F5F5F"/>
          </a:solidFill>
          <a:latin typeface="+mn-lt"/>
          <a:ea typeface="+mn-ea"/>
          <a:cs typeface="+mn-cs"/>
        </a:defRPr>
      </a:lvl4pPr>
      <a:lvl5pPr marL="860425" marR="0" indent="-177800" algn="l" defTabSz="617220" rtl="0" eaLnBrk="1" fontAlgn="auto" latinLnBrk="0" hangingPunct="1">
        <a:lnSpc>
          <a:spcPct val="100000"/>
        </a:lnSpc>
        <a:spcBef>
          <a:spcPts val="135"/>
        </a:spcBef>
        <a:spcAft>
          <a:spcPts val="135"/>
        </a:spcAft>
        <a:buClr>
          <a:srgbClr val="01A1E7"/>
        </a:buClr>
        <a:buSzTx/>
        <a:buFont typeface="Arial" panose="020B0604020202020204" pitchFamily="34" charset="0"/>
        <a:buChar char="»"/>
        <a:tabLst/>
        <a:defRPr sz="1800" kern="1200" baseline="0">
          <a:solidFill>
            <a:srgbClr val="5F5F5F"/>
          </a:solidFill>
          <a:latin typeface="+mn-lt"/>
          <a:ea typeface="+mn-ea"/>
          <a:cs typeface="+mn-cs"/>
        </a:defRPr>
      </a:lvl5pPr>
      <a:lvl6pPr marL="0" indent="0" algn="l" defTabSz="617220" rtl="0" eaLnBrk="1" latinLnBrk="0" hangingPunct="1">
        <a:spcBef>
          <a:spcPts val="135"/>
        </a:spcBef>
        <a:spcAft>
          <a:spcPts val="135"/>
        </a:spcAft>
        <a:buFont typeface="Arial" pitchFamily="34" charset="0"/>
        <a:buNone/>
        <a:defRPr sz="1620" kern="1200">
          <a:solidFill>
            <a:schemeClr val="accent5"/>
          </a:solidFill>
          <a:latin typeface="+mn-lt"/>
          <a:ea typeface="+mn-ea"/>
          <a:cs typeface="+mn-cs"/>
        </a:defRPr>
      </a:lvl6pPr>
      <a:lvl7pPr marL="0" indent="0" algn="l" defTabSz="617220" rtl="0" eaLnBrk="1" latinLnBrk="0" hangingPunct="1">
        <a:spcBef>
          <a:spcPts val="135"/>
        </a:spcBef>
        <a:spcAft>
          <a:spcPts val="135"/>
        </a:spcAft>
        <a:buFont typeface="Arial" pitchFamily="34" charset="0"/>
        <a:buNone/>
        <a:defRPr sz="1620" kern="1200">
          <a:solidFill>
            <a:schemeClr val="accent6"/>
          </a:solidFill>
          <a:latin typeface="+mn-lt"/>
          <a:ea typeface="+mn-ea"/>
          <a:cs typeface="+mn-cs"/>
        </a:defRPr>
      </a:lvl7pPr>
      <a:lvl8pPr marL="0" indent="0" algn="l" defTabSz="617220" rtl="0" eaLnBrk="1" latinLnBrk="0" hangingPunct="1">
        <a:spcBef>
          <a:spcPts val="135"/>
        </a:spcBef>
        <a:spcAft>
          <a:spcPts val="135"/>
        </a:spcAft>
        <a:buFont typeface="Arial" pitchFamily="34" charset="0"/>
        <a:buNone/>
        <a:defRPr sz="1620" kern="1200">
          <a:solidFill>
            <a:schemeClr val="accent3"/>
          </a:solidFill>
          <a:latin typeface="+mn-lt"/>
          <a:ea typeface="+mn-ea"/>
          <a:cs typeface="+mn-cs"/>
        </a:defRPr>
      </a:lvl8pPr>
      <a:lvl9pPr marL="0" indent="0" algn="l" defTabSz="617220" rtl="0" eaLnBrk="1" latinLnBrk="0" hangingPunct="1">
        <a:spcBef>
          <a:spcPts val="135"/>
        </a:spcBef>
        <a:spcAft>
          <a:spcPts val="135"/>
        </a:spcAft>
        <a:buFont typeface="Arial" pitchFamily="34" charset="0"/>
        <a:buNone/>
        <a:defRPr sz="1440" kern="1200">
          <a:solidFill>
            <a:schemeClr val="tx1"/>
          </a:solidFill>
          <a:latin typeface="+mn-lt"/>
          <a:ea typeface="+mn-ea"/>
          <a:cs typeface="+mn-cs"/>
        </a:defRPr>
      </a:lvl9pPr>
    </p:bodyStyle>
    <p:otherStyle>
      <a:defPPr>
        <a:defRPr lang="de-DE"/>
      </a:defPPr>
      <a:lvl1pPr marL="0" algn="l" defTabSz="617220" rtl="0" eaLnBrk="1" latinLnBrk="0" hangingPunct="1">
        <a:defRPr sz="1215" kern="1200">
          <a:solidFill>
            <a:schemeClr val="tx1"/>
          </a:solidFill>
          <a:latin typeface="+mn-lt"/>
          <a:ea typeface="+mn-ea"/>
          <a:cs typeface="+mn-cs"/>
        </a:defRPr>
      </a:lvl1pPr>
      <a:lvl2pPr marL="308610" algn="l" defTabSz="617220" rtl="0" eaLnBrk="1" latinLnBrk="0" hangingPunct="1">
        <a:defRPr sz="1215" kern="1200">
          <a:solidFill>
            <a:schemeClr val="tx1"/>
          </a:solidFill>
          <a:latin typeface="+mn-lt"/>
          <a:ea typeface="+mn-ea"/>
          <a:cs typeface="+mn-cs"/>
        </a:defRPr>
      </a:lvl2pPr>
      <a:lvl3pPr marL="617220" algn="l" defTabSz="617220" rtl="0" eaLnBrk="1" latinLnBrk="0" hangingPunct="1">
        <a:defRPr sz="1215" kern="1200">
          <a:solidFill>
            <a:schemeClr val="tx1"/>
          </a:solidFill>
          <a:latin typeface="+mn-lt"/>
          <a:ea typeface="+mn-ea"/>
          <a:cs typeface="+mn-cs"/>
        </a:defRPr>
      </a:lvl3pPr>
      <a:lvl4pPr marL="925830" algn="l" defTabSz="617220" rtl="0" eaLnBrk="1" latinLnBrk="0" hangingPunct="1">
        <a:defRPr sz="1215" kern="1200">
          <a:solidFill>
            <a:schemeClr val="tx1"/>
          </a:solidFill>
          <a:latin typeface="+mn-lt"/>
          <a:ea typeface="+mn-ea"/>
          <a:cs typeface="+mn-cs"/>
        </a:defRPr>
      </a:lvl4pPr>
      <a:lvl5pPr marL="1234440" algn="l" defTabSz="617220" rtl="0" eaLnBrk="1" latinLnBrk="0" hangingPunct="1">
        <a:defRPr sz="1215" kern="1200">
          <a:solidFill>
            <a:schemeClr val="tx1"/>
          </a:solidFill>
          <a:latin typeface="+mn-lt"/>
          <a:ea typeface="+mn-ea"/>
          <a:cs typeface="+mn-cs"/>
        </a:defRPr>
      </a:lvl5pPr>
      <a:lvl6pPr marL="1543050" algn="l" defTabSz="617220" rtl="0" eaLnBrk="1" latinLnBrk="0" hangingPunct="1">
        <a:defRPr sz="1215" kern="1200">
          <a:solidFill>
            <a:schemeClr val="tx1"/>
          </a:solidFill>
          <a:latin typeface="+mn-lt"/>
          <a:ea typeface="+mn-ea"/>
          <a:cs typeface="+mn-cs"/>
        </a:defRPr>
      </a:lvl6pPr>
      <a:lvl7pPr marL="1851660" algn="l" defTabSz="617220" rtl="0" eaLnBrk="1" latinLnBrk="0" hangingPunct="1">
        <a:defRPr sz="1215" kern="1200">
          <a:solidFill>
            <a:schemeClr val="tx1"/>
          </a:solidFill>
          <a:latin typeface="+mn-lt"/>
          <a:ea typeface="+mn-ea"/>
          <a:cs typeface="+mn-cs"/>
        </a:defRPr>
      </a:lvl7pPr>
      <a:lvl8pPr marL="2160270" algn="l" defTabSz="617220" rtl="0" eaLnBrk="1" latinLnBrk="0" hangingPunct="1">
        <a:defRPr sz="1215" kern="1200">
          <a:solidFill>
            <a:schemeClr val="tx1"/>
          </a:solidFill>
          <a:latin typeface="+mn-lt"/>
          <a:ea typeface="+mn-ea"/>
          <a:cs typeface="+mn-cs"/>
        </a:defRPr>
      </a:lvl8pPr>
      <a:lvl9pPr marL="2468880" algn="l" defTabSz="617220" rtl="0" eaLnBrk="1" latinLnBrk="0" hangingPunct="1">
        <a:defRPr sz="1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2" y="370595"/>
            <a:ext cx="7955280" cy="3877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7606" y="1706880"/>
            <a:ext cx="7955280"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itle</a:t>
            </a:r>
          </a:p>
          <a:p>
            <a:pPr lvl="1"/>
            <a:r>
              <a:rPr lang="en-US" dirty="0" smtClean="0"/>
              <a:t>Second level</a:t>
            </a:r>
          </a:p>
          <a:p>
            <a:pPr lvl="2"/>
            <a:r>
              <a:rPr lang="en-US" dirty="0" smtClean="0"/>
              <a:t>Third level</a:t>
            </a:r>
          </a:p>
        </p:txBody>
      </p:sp>
      <p:sp>
        <p:nvSpPr>
          <p:cNvPr id="15" name="TextBox 14" hidden="1"/>
          <p:cNvSpPr txBox="1"/>
          <p:nvPr/>
        </p:nvSpPr>
        <p:spPr>
          <a:xfrm>
            <a:off x="1895477" y="6454881"/>
            <a:ext cx="649537" cy="138499"/>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B8D0290F-9E23-41BA-BCF9-EF3BA4816832}" type="datetime1">
              <a:rPr lang="en-US" sz="1000" smtClean="0">
                <a:solidFill>
                  <a:schemeClr val="tx2"/>
                </a:solidFill>
                <a:latin typeface="+mn-lt"/>
              </a:rPr>
              <a:pPr>
                <a:lnSpc>
                  <a:spcPct val="90000"/>
                </a:lnSpc>
                <a:spcBef>
                  <a:spcPts val="600"/>
                </a:spcBef>
                <a:spcAft>
                  <a:spcPts val="0"/>
                </a:spcAft>
                <a:buClr>
                  <a:schemeClr val="bg1"/>
                </a:buClr>
              </a:pPr>
              <a:t>10/22/2014</a:t>
            </a:fld>
            <a:endParaRPr lang="en-US" sz="1000" dirty="0" smtClean="0">
              <a:solidFill>
                <a:schemeClr val="tx2"/>
              </a:solidFill>
              <a:latin typeface="+mn-lt"/>
            </a:endParaRPr>
          </a:p>
        </p:txBody>
      </p:sp>
      <p:sp>
        <p:nvSpPr>
          <p:cNvPr id="10" name="TextBox 9"/>
          <p:cNvSpPr txBox="1"/>
          <p:nvPr/>
        </p:nvSpPr>
        <p:spPr>
          <a:xfrm>
            <a:off x="290513" y="6396327"/>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tx2"/>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tx2"/>
              </a:solidFill>
              <a:latin typeface="+mn-lt"/>
              <a:ea typeface="+mn-ea"/>
              <a:cs typeface="+mn-cs"/>
            </a:endParaRPr>
          </a:p>
        </p:txBody>
      </p:sp>
      <p:pic>
        <p:nvPicPr>
          <p:cNvPr id="8" name="Picture 7" descr="dell_white_logo.png"/>
          <p:cNvPicPr>
            <a:picLocks noChangeAspect="1"/>
          </p:cNvPicPr>
          <p:nvPr/>
        </p:nvPicPr>
        <p:blipFill>
          <a:blip r:embed="rId9" cstate="screen"/>
          <a:stretch>
            <a:fillRect/>
          </a:stretch>
        </p:blipFill>
        <p:spPr bwMode="black">
          <a:xfrm>
            <a:off x="8426829" y="6147475"/>
            <a:ext cx="475126" cy="475126"/>
          </a:xfrm>
          <a:prstGeom prst="rect">
            <a:avLst/>
          </a:prstGeom>
        </p:spPr>
      </p:pic>
      <p:sp>
        <p:nvSpPr>
          <p:cNvPr id="3" name="fc"/>
          <p:cNvSpPr txBox="1"/>
          <p:nvPr/>
        </p:nvSpPr>
        <p:spPr>
          <a:xfrm>
            <a:off x="0" y="6671056"/>
            <a:ext cx="9144000" cy="216982"/>
          </a:xfrm>
          <a:prstGeom prst="rect">
            <a:avLst/>
          </a:prstGeom>
          <a:noFill/>
        </p:spPr>
        <p:txBody>
          <a:bodyPr vert="horz" wrap="square" rtlCol="0">
            <a:spAutoFit/>
          </a:bodyPr>
          <a:lstStyle/>
          <a:p>
            <a:pPr algn="ctr">
              <a:lnSpc>
                <a:spcPct val="90000"/>
              </a:lnSpc>
              <a:spcBef>
                <a:spcPts val="100"/>
              </a:spcBef>
              <a:spcAft>
                <a:spcPts val="100"/>
              </a:spcAft>
            </a:pPr>
            <a:endParaRPr lang="en-US" sz="900" b="0" i="0" u="none" baseline="0" dirty="0" smtClean="0">
              <a:solidFill>
                <a:srgbClr val="1F497D"/>
              </a:solidFill>
              <a:latin typeface="arial unicode ms"/>
            </a:endParaRPr>
          </a:p>
        </p:txBody>
      </p:sp>
      <p:sp>
        <p:nvSpPr>
          <p:cNvPr id="9" name="TextBox 8"/>
          <p:cNvSpPr txBox="1"/>
          <p:nvPr/>
        </p:nvSpPr>
        <p:spPr>
          <a:xfrm>
            <a:off x="6808209" y="6319319"/>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tx2"/>
                </a:solidFill>
                <a:latin typeface="+mn-lt"/>
              </a:rPr>
              <a:t>SecureWorks</a:t>
            </a:r>
          </a:p>
        </p:txBody>
      </p:sp>
    </p:spTree>
    <p:extLst>
      <p:ext uri="{BB962C8B-B14F-4D97-AF65-F5344CB8AC3E}">
        <p14:creationId xmlns:p14="http://schemas.microsoft.com/office/powerpoint/2010/main" val="996685686"/>
      </p:ext>
    </p:extLst>
  </p:cSld>
  <p:clrMap bg1="dk2" tx1="lt1" bg2="dk1" tx2="lt2" accent1="accent1" accent2="accent2" accent3="accent3" accent4="accent4" accent5="accent5" accent6="accent6" hlink="hlink" folHlink="folHlink"/>
  <p:sldLayoutIdLst>
    <p:sldLayoutId id="2147484168" r:id="rId1"/>
    <p:sldLayoutId id="2147484163" r:id="rId2"/>
    <p:sldLayoutId id="2147484164" r:id="rId3"/>
    <p:sldLayoutId id="2147484165" r:id="rId4"/>
    <p:sldLayoutId id="2147484166" r:id="rId5"/>
    <p:sldLayoutId id="2147484167" r:id="rId6"/>
    <p:sldLayoutId id="2147484169"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tx2"/>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200"/>
        </a:spcBef>
        <a:spcAft>
          <a:spcPts val="0"/>
        </a:spcAft>
        <a:buClr>
          <a:schemeClr val="tx2"/>
        </a:buClr>
        <a:buFont typeface="Arial" pitchFamily="34" charset="0"/>
        <a:buChar char="•"/>
        <a:defRPr sz="1400">
          <a:solidFill>
            <a:schemeClr val="tx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300"/>
        </a:spcBef>
        <a:spcAft>
          <a:spcPts val="0"/>
        </a:spcAft>
        <a:buClr>
          <a:schemeClr val="tx2"/>
        </a:buClr>
        <a:buSzPct val="100000"/>
        <a:buFont typeface="Museo Sans For Dell" pitchFamily="2" charset="0"/>
        <a:buChar char="–"/>
        <a:defRPr sz="1200" baseline="0">
          <a:solidFill>
            <a:schemeClr val="tx2"/>
          </a:solidFill>
          <a:latin typeface="Museo Sans For Dell" pitchFamily="2" charset="0"/>
          <a:ea typeface="Museo Sans For Dell" pitchFamily="2" charset="0"/>
        </a:defRPr>
      </a:lvl2pPr>
      <a:lvl3pPr marL="909638" indent="-220663" algn="l" rtl="0" eaLnBrk="1" fontAlgn="base" hangingPunct="1">
        <a:lnSpc>
          <a:spcPct val="90000"/>
        </a:lnSpc>
        <a:spcBef>
          <a:spcPts val="300"/>
        </a:spcBef>
        <a:spcAft>
          <a:spcPts val="0"/>
        </a:spcAft>
        <a:buClr>
          <a:schemeClr val="tx2"/>
        </a:buClr>
        <a:buFont typeface="Museo Sans For Dell" pitchFamily="2" charset="0"/>
        <a:buChar char="–"/>
        <a:defRPr sz="1000">
          <a:solidFill>
            <a:schemeClr val="tx2"/>
          </a:solidFill>
          <a:latin typeface="Museo Sans For Dell" pitchFamily="2" charset="0"/>
          <a:ea typeface="Museo Sans For Dell" pitchFamily="2" charset="0"/>
        </a:defRPr>
      </a:lvl3pPr>
      <a:lvl4pPr marL="1246188" indent="-22225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chemeClr val="bg1"/>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2" name="Picture 11" descr="dell_gray_logo.png"/>
          <p:cNvPicPr>
            <a:picLocks noChangeAspect="1"/>
          </p:cNvPicPr>
          <p:nvPr/>
        </p:nvPicPr>
        <p:blipFill>
          <a:blip r:embed="rId14"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0" name="TextBox 9"/>
          <p:cNvSpPr txBox="1"/>
          <p:nvPr/>
        </p:nvSpPr>
        <p:spPr>
          <a:xfrm>
            <a:off x="6808209" y="6319319"/>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116772283"/>
      </p:ext>
    </p:extLst>
  </p:cSld>
  <p:clrMap bg1="dk2" tx1="lt1" bg2="dk1" tx2="lt2" accent1="accent1" accent2="accent2" accent3="accent3" accent4="accent4" accent5="accent5" accent6="accent6" hlink="hlink" folHlink="folHlink"/>
  <p:sldLayoutIdLst>
    <p:sldLayoutId id="2147484351" r:id="rId1"/>
    <p:sldLayoutId id="2147484258" r:id="rId2"/>
    <p:sldLayoutId id="2147484259" r:id="rId3"/>
    <p:sldLayoutId id="2147484260" r:id="rId4"/>
    <p:sldLayoutId id="2147484261" r:id="rId5"/>
    <p:sldLayoutId id="2147484262" r:id="rId6"/>
    <p:sldLayoutId id="2147484263" r:id="rId7"/>
    <p:sldLayoutId id="2147484264" r:id="rId8"/>
    <p:sldLayoutId id="2147484350" r:id="rId9"/>
    <p:sldLayoutId id="2147484499" r:id="rId10"/>
    <p:sldLayoutId id="2147484500" r:id="rId11"/>
    <p:sldLayoutId id="2147484501"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rgbClr val="AAAAAA"/>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err="1" smtClean="0">
              <a:solidFill>
                <a:srgbClr val="1F497D"/>
              </a:solidFill>
              <a:latin typeface="arial unicode ms"/>
            </a:endParaRPr>
          </a:p>
        </p:txBody>
      </p:sp>
      <p:sp>
        <p:nvSpPr>
          <p:cNvPr id="11" name="TextBox 10"/>
          <p:cNvSpPr txBox="1"/>
          <p:nvPr/>
        </p:nvSpPr>
        <p:spPr>
          <a:xfrm>
            <a:off x="6808209" y="6319319"/>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450389760"/>
      </p:ext>
    </p:extLst>
  </p:cSld>
  <p:clrMap bg1="dk2" tx1="lt1" bg2="dk1" tx2="lt2" accent1="accent1" accent2="accent2" accent3="accent3" accent4="accent4" accent5="accent5" accent6="accent6" hlink="hlink" folHlink="folHlink"/>
  <p:sldLayoutIdLst>
    <p:sldLayoutId id="2147484352" r:id="rId1"/>
    <p:sldLayoutId id="2147484266" r:id="rId2"/>
    <p:sldLayoutId id="2147484267" r:id="rId3"/>
    <p:sldLayoutId id="2147484268" r:id="rId4"/>
    <p:sldLayoutId id="2147484269" r:id="rId5"/>
    <p:sldLayoutId id="2147484270" r:id="rId6"/>
    <p:sldLayoutId id="2147484271" r:id="rId7"/>
    <p:sldLayoutId id="2147484272" r:id="rId8"/>
    <p:sldLayoutId id="2147484353"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rgbClr val="AAAAAA"/>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rgbClr val="002060"/>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1" name="TextBox 10"/>
          <p:cNvSpPr txBox="1"/>
          <p:nvPr/>
        </p:nvSpPr>
        <p:spPr>
          <a:xfrm>
            <a:off x="6808209" y="6319319"/>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2803440583"/>
      </p:ext>
    </p:extLst>
  </p:cSld>
  <p:clrMap bg1="dk2" tx1="lt1" bg2="dk1" tx2="lt2" accent1="accent1" accent2="accent2" accent3="accent3" accent4="accent4" accent5="accent5" accent6="accent6" hlink="hlink" folHlink="folHlink"/>
  <p:sldLayoutIdLst>
    <p:sldLayoutId id="2147484354" r:id="rId1"/>
    <p:sldLayoutId id="2147484274" r:id="rId2"/>
    <p:sldLayoutId id="2147484275" r:id="rId3"/>
    <p:sldLayoutId id="2147484276" r:id="rId4"/>
    <p:sldLayoutId id="2147484277" r:id="rId5"/>
    <p:sldLayoutId id="2147484278" r:id="rId6"/>
    <p:sldLayoutId id="2147484279" r:id="rId7"/>
    <p:sldLayoutId id="2147484280" r:id="rId8"/>
    <p:sldLayoutId id="2147484355"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rgbClr val="74CAC7"/>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1" name="TextBox 10"/>
          <p:cNvSpPr txBox="1"/>
          <p:nvPr/>
        </p:nvSpPr>
        <p:spPr>
          <a:xfrm>
            <a:off x="6871580" y="6283107"/>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3675758542"/>
      </p:ext>
    </p:extLst>
  </p:cSld>
  <p:clrMap bg1="dk2" tx1="lt1" bg2="dk1" tx2="lt2" accent1="accent1" accent2="accent2" accent3="accent3" accent4="accent4" accent5="accent5" accent6="accent6" hlink="hlink" folHlink="folHlink"/>
  <p:sldLayoutIdLst>
    <p:sldLayoutId id="2147484357" r:id="rId1"/>
    <p:sldLayoutId id="2147484282" r:id="rId2"/>
    <p:sldLayoutId id="2147484283" r:id="rId3"/>
    <p:sldLayoutId id="2147484284" r:id="rId4"/>
    <p:sldLayoutId id="2147484285" r:id="rId5"/>
    <p:sldLayoutId id="2147484286" r:id="rId6"/>
    <p:sldLayoutId id="2147484287" r:id="rId7"/>
    <p:sldLayoutId id="2147484288" r:id="rId8"/>
    <p:sldLayoutId id="2147484356"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2"/>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chemeClr val="accent3"/>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1" name="TextBox 10"/>
          <p:cNvSpPr txBox="1"/>
          <p:nvPr/>
        </p:nvSpPr>
        <p:spPr>
          <a:xfrm>
            <a:off x="6871580" y="6265001"/>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1002690004"/>
      </p:ext>
    </p:extLst>
  </p:cSld>
  <p:clrMap bg1="dk2" tx1="lt1" bg2="dk1" tx2="lt2" accent1="accent1" accent2="accent2" accent3="accent3" accent4="accent4" accent5="accent5" accent6="accent6" hlink="hlink" folHlink="folHlink"/>
  <p:sldLayoutIdLst>
    <p:sldLayoutId id="2147484359" r:id="rId1"/>
    <p:sldLayoutId id="2147484290" r:id="rId2"/>
    <p:sldLayoutId id="2147484291" r:id="rId3"/>
    <p:sldLayoutId id="2147484292" r:id="rId4"/>
    <p:sldLayoutId id="2147484293" r:id="rId5"/>
    <p:sldLayoutId id="2147484294" r:id="rId6"/>
    <p:sldLayoutId id="2147484295" r:id="rId7"/>
    <p:sldLayoutId id="2147484296" r:id="rId8"/>
    <p:sldLayoutId id="2147484358"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3"/>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53344"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53344"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chemeClr val="accent4"/>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1" name="TextBox 10"/>
          <p:cNvSpPr txBox="1"/>
          <p:nvPr/>
        </p:nvSpPr>
        <p:spPr>
          <a:xfrm>
            <a:off x="6862527" y="6265001"/>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379995058"/>
      </p:ext>
    </p:extLst>
  </p:cSld>
  <p:clrMap bg1="dk2" tx1="lt1" bg2="dk1" tx2="lt2" accent1="accent1" accent2="accent2" accent3="accent3" accent4="accent4" accent5="accent5" accent6="accent6" hlink="hlink" folHlink="folHlink"/>
  <p:sldLayoutIdLst>
    <p:sldLayoutId id="2147484361" r:id="rId1"/>
    <p:sldLayoutId id="2147484298" r:id="rId2"/>
    <p:sldLayoutId id="2147484299" r:id="rId3"/>
    <p:sldLayoutId id="2147484300" r:id="rId4"/>
    <p:sldLayoutId id="2147484301" r:id="rId5"/>
    <p:sldLayoutId id="2147484302" r:id="rId6"/>
    <p:sldLayoutId id="2147484303" r:id="rId7"/>
    <p:sldLayoutId id="2147484304" r:id="rId8"/>
    <p:sldLayoutId id="2147484360"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4"/>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364633" y="362515"/>
            <a:ext cx="7930595" cy="85344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364633" y="1706880"/>
            <a:ext cx="7926969" cy="42672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4" y="6409972"/>
            <a:ext cx="265176" cy="118872"/>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7" y="6454546"/>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22/2014</a:t>
            </a:fld>
            <a:endParaRPr lang="en-US" sz="900" dirty="0" smtClean="0">
              <a:solidFill>
                <a:schemeClr val="bg2">
                  <a:lumMod val="50000"/>
                  <a:lumOff val="50000"/>
                </a:schemeClr>
              </a:solidFill>
              <a:latin typeface="+mn-lt"/>
            </a:endParaRPr>
          </a:p>
        </p:txBody>
      </p:sp>
      <p:sp>
        <p:nvSpPr>
          <p:cNvPr id="9" name="fl" descr="                        Dell - Internal Use - Confidential"/>
          <p:cNvSpPr txBox="1"/>
          <p:nvPr/>
        </p:nvSpPr>
        <p:spPr>
          <a:xfrm>
            <a:off x="0" y="6677914"/>
            <a:ext cx="9144000" cy="210058"/>
          </a:xfrm>
          <a:prstGeom prst="rect">
            <a:avLst/>
          </a:prstGeom>
          <a:solidFill>
            <a:schemeClr val="accent5"/>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a:t>
            </a:r>
          </a:p>
        </p:txBody>
      </p:sp>
      <p:pic>
        <p:nvPicPr>
          <p:cNvPr id="10" name="Picture 9" descr="dell_gray_logo.png"/>
          <p:cNvPicPr>
            <a:picLocks noChangeAspect="1"/>
          </p:cNvPicPr>
          <p:nvPr/>
        </p:nvPicPr>
        <p:blipFill>
          <a:blip r:embed="rId11" cstate="screen"/>
          <a:stretch>
            <a:fillRect/>
          </a:stretch>
        </p:blipFill>
        <p:spPr bwMode="black">
          <a:xfrm>
            <a:off x="8414827" y="6142339"/>
            <a:ext cx="470835" cy="470835"/>
          </a:xfrm>
          <a:prstGeom prst="rect">
            <a:avLst/>
          </a:prstGeom>
        </p:spPr>
      </p:pic>
      <p:sp>
        <p:nvSpPr>
          <p:cNvPr id="2" name="fc"/>
          <p:cNvSpPr txBox="1"/>
          <p:nvPr/>
        </p:nvSpPr>
        <p:spPr>
          <a:xfrm>
            <a:off x="0" y="6671056"/>
            <a:ext cx="184730" cy="216982"/>
          </a:xfrm>
          <a:prstGeom prst="rect">
            <a:avLst/>
          </a:prstGeom>
          <a:noFill/>
        </p:spPr>
        <p:txBody>
          <a:bodyPr vert="horz" wrap="none" rtlCol="0">
            <a:spAutoFit/>
          </a:bodyPr>
          <a:lstStyle/>
          <a:p>
            <a:pPr algn="ctr">
              <a:lnSpc>
                <a:spcPct val="90000"/>
              </a:lnSpc>
              <a:spcBef>
                <a:spcPts val="600"/>
              </a:spcBef>
              <a:spcAft>
                <a:spcPts val="0"/>
              </a:spcAft>
              <a:buClr>
                <a:schemeClr val="bg1"/>
              </a:buClr>
            </a:pPr>
            <a:endParaRPr lang="en-US" sz="900" b="0" i="0" u="none" baseline="0" dirty="0" smtClean="0">
              <a:solidFill>
                <a:srgbClr val="1F497D"/>
              </a:solidFill>
              <a:latin typeface="arial unicode ms"/>
            </a:endParaRPr>
          </a:p>
        </p:txBody>
      </p:sp>
      <p:sp>
        <p:nvSpPr>
          <p:cNvPr id="11" name="TextBox 10"/>
          <p:cNvSpPr txBox="1"/>
          <p:nvPr/>
        </p:nvSpPr>
        <p:spPr>
          <a:xfrm>
            <a:off x="6862527" y="6265001"/>
            <a:ext cx="1552300" cy="230832"/>
          </a:xfrm>
          <a:prstGeom prst="rect">
            <a:avLst/>
          </a:prstGeom>
          <a:noFill/>
        </p:spPr>
        <p:txBody>
          <a:bodyPr wrap="square" rtlCol="0">
            <a:spAutoFit/>
          </a:bodyPr>
          <a:lstStyle/>
          <a:p>
            <a:pPr algn="r">
              <a:lnSpc>
                <a:spcPct val="90000"/>
              </a:lnSpc>
              <a:spcBef>
                <a:spcPts val="600"/>
              </a:spcBef>
              <a:spcAft>
                <a:spcPts val="0"/>
              </a:spcAft>
              <a:buClr>
                <a:schemeClr val="bg1"/>
              </a:buClr>
            </a:pPr>
            <a:r>
              <a:rPr lang="en-US" sz="1000" dirty="0" smtClean="0">
                <a:solidFill>
                  <a:schemeClr val="bg2">
                    <a:lumMod val="60000"/>
                    <a:lumOff val="40000"/>
                  </a:schemeClr>
                </a:solidFill>
                <a:latin typeface="+mn-lt"/>
              </a:rPr>
              <a:t>SecureWorks</a:t>
            </a:r>
          </a:p>
        </p:txBody>
      </p:sp>
    </p:spTree>
    <p:extLst>
      <p:ext uri="{BB962C8B-B14F-4D97-AF65-F5344CB8AC3E}">
        <p14:creationId xmlns:p14="http://schemas.microsoft.com/office/powerpoint/2010/main" val="2730904318"/>
      </p:ext>
    </p:extLst>
  </p:cSld>
  <p:clrMap bg1="dk2" tx1="lt1" bg2="dk1" tx2="lt2" accent1="accent1" accent2="accent2" accent3="accent3" accent4="accent4" accent5="accent5" accent6="accent6" hlink="hlink" folHlink="folHlink"/>
  <p:sldLayoutIdLst>
    <p:sldLayoutId id="2147484362" r:id="rId1"/>
    <p:sldLayoutId id="2147484314" r:id="rId2"/>
    <p:sldLayoutId id="2147484315" r:id="rId3"/>
    <p:sldLayoutId id="2147484316" r:id="rId4"/>
    <p:sldLayoutId id="2147484317" r:id="rId5"/>
    <p:sldLayoutId id="2147484318" r:id="rId6"/>
    <p:sldLayoutId id="2147484319" r:id="rId7"/>
    <p:sldLayoutId id="2147484320" r:id="rId8"/>
    <p:sldLayoutId id="2147484363"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5"/>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2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2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21.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1.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21.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1.xml"/><Relationship Id="rId1" Type="http://schemas.openxmlformats.org/officeDocument/2006/relationships/tags" Target="../tags/tag2.xml"/><Relationship Id="rId4" Type="http://schemas.openxmlformats.org/officeDocument/2006/relationships/image" Target="../media/image31.jpe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1.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1.xml"/><Relationship Id="rId1" Type="http://schemas.openxmlformats.org/officeDocument/2006/relationships/slideLayout" Target="../slideLayouts/slideLayout2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9.xml"/><Relationship Id="rId5" Type="http://schemas.microsoft.com/office/2007/relationships/hdphoto" Target="../media/hdphoto2.wdp"/><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2054" y="525725"/>
            <a:ext cx="5200791" cy="2036852"/>
          </a:xfrm>
        </p:spPr>
        <p:txBody>
          <a:bodyPr>
            <a:normAutofit fontScale="90000"/>
          </a:bodyPr>
          <a:lstStyle/>
          <a:p>
            <a:r>
              <a:rPr lang="en-US" dirty="0" smtClean="0"/>
              <a:t>Dell</a:t>
            </a:r>
            <a:br>
              <a:rPr lang="en-US" dirty="0" smtClean="0"/>
            </a:br>
            <a:r>
              <a:rPr lang="en-US" dirty="0" smtClean="0"/>
              <a:t>SecureWorks</a:t>
            </a:r>
            <a:br>
              <a:rPr lang="en-US" dirty="0" smtClean="0"/>
            </a:br>
            <a:endParaRPr lang="en-US" dirty="0"/>
          </a:p>
        </p:txBody>
      </p:sp>
      <p:sp>
        <p:nvSpPr>
          <p:cNvPr id="3" name="Subtitle 2"/>
          <p:cNvSpPr>
            <a:spLocks noGrp="1"/>
          </p:cNvSpPr>
          <p:nvPr>
            <p:ph type="subTitle" idx="1"/>
          </p:nvPr>
        </p:nvSpPr>
        <p:spPr>
          <a:xfrm>
            <a:off x="305830" y="2826430"/>
            <a:ext cx="5200791" cy="861774"/>
          </a:xfrm>
        </p:spPr>
        <p:txBody>
          <a:bodyPr/>
          <a:lstStyle/>
          <a:p>
            <a:r>
              <a:rPr lang="en-US" sz="2800" dirty="0"/>
              <a:t>Our story on how we can get to market faster</a:t>
            </a:r>
          </a:p>
        </p:txBody>
      </p:sp>
    </p:spTree>
    <p:extLst>
      <p:ext uri="{BB962C8B-B14F-4D97-AF65-F5344CB8AC3E}">
        <p14:creationId xmlns:p14="http://schemas.microsoft.com/office/powerpoint/2010/main" val="415611268"/>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631" y="1044915"/>
            <a:ext cx="8410879" cy="374452"/>
          </a:xfrm>
        </p:spPr>
        <p:txBody>
          <a:bodyPr>
            <a:normAutofit/>
          </a:bodyPr>
          <a:lstStyle/>
          <a:p>
            <a:r>
              <a:rPr lang="en-US" sz="2000" dirty="0" smtClean="0"/>
              <a:t>Layer between development and operations</a:t>
            </a:r>
            <a:endParaRPr lang="en-US" sz="2000" dirty="0"/>
          </a:p>
        </p:txBody>
      </p:sp>
      <p:sp>
        <p:nvSpPr>
          <p:cNvPr id="3" name="Content Placeholder 2"/>
          <p:cNvSpPr>
            <a:spLocks noGrp="1"/>
          </p:cNvSpPr>
          <p:nvPr>
            <p:ph sz="half" idx="1"/>
          </p:nvPr>
        </p:nvSpPr>
        <p:spPr>
          <a:xfrm>
            <a:off x="425864" y="1706880"/>
            <a:ext cx="4906157" cy="1376437"/>
          </a:xfrm>
        </p:spPr>
        <p:txBody>
          <a:bodyPr>
            <a:noAutofit/>
          </a:bodyPr>
          <a:lstStyle/>
          <a:p>
            <a:r>
              <a:rPr lang="en-US" sz="2000" dirty="0" smtClean="0"/>
              <a:t>Management acknowledge the gap in our organization and used this opportunity to introduce a new team to act as a bridge between Engineering and Operations.</a:t>
            </a:r>
          </a:p>
          <a:p>
            <a:r>
              <a:rPr lang="en-US" sz="2000" dirty="0" smtClean="0"/>
              <a:t>The </a:t>
            </a:r>
            <a:r>
              <a:rPr lang="en-US" sz="2000" dirty="0"/>
              <a:t>team’s responsibility would be to identify ways to improve our efficiency with a focus on release automation.</a:t>
            </a:r>
          </a:p>
          <a:p>
            <a:r>
              <a:rPr lang="en-US" sz="2000" dirty="0"/>
              <a:t>Existing staff </a:t>
            </a:r>
            <a:r>
              <a:rPr lang="en-US" sz="2000" dirty="0" smtClean="0"/>
              <a:t>members </a:t>
            </a:r>
            <a:r>
              <a:rPr lang="en-US" sz="2000" dirty="0"/>
              <a:t>with already in depth knowledge of the company and application were chosen to drive the effort.</a:t>
            </a:r>
          </a:p>
          <a:p>
            <a:endParaRPr lang="en-US" sz="2000" b="1" dirty="0" smtClean="0"/>
          </a:p>
          <a:p>
            <a:endParaRPr lang="en-US" sz="2000" b="1" dirty="0"/>
          </a:p>
          <a:p>
            <a:endParaRPr lang="en-US" sz="2000" b="1" dirty="0" smtClean="0"/>
          </a:p>
          <a:p>
            <a:endParaRPr lang="en-US" sz="2000" b="1" dirty="0"/>
          </a:p>
          <a:p>
            <a:endParaRPr lang="en-US" sz="2000" b="1" dirty="0" smtClean="0"/>
          </a:p>
          <a:p>
            <a:pPr marL="0" indent="0">
              <a:buNone/>
            </a:pPr>
            <a:endParaRPr lang="en-US" sz="2000" b="1" dirty="0" smtClean="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3842" y="2480257"/>
            <a:ext cx="3453421" cy="2279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6"/>
          <p:cNvSpPr txBox="1">
            <a:spLocks/>
          </p:cNvSpPr>
          <p:nvPr/>
        </p:nvSpPr>
        <p:spPr bwMode="auto">
          <a:xfrm>
            <a:off x="364631" y="362515"/>
            <a:ext cx="7955280" cy="886396"/>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2800" b="0" cap="none" baseline="0">
                <a:solidFill>
                  <a:schemeClr val="bg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sz="3200" kern="0" dirty="0" err="1" smtClean="0"/>
              <a:t>DevOps</a:t>
            </a:r>
            <a:endParaRPr lang="en-US" sz="3200" kern="0" dirty="0"/>
          </a:p>
        </p:txBody>
      </p:sp>
    </p:spTree>
    <p:extLst>
      <p:ext uri="{BB962C8B-B14F-4D97-AF65-F5344CB8AC3E}">
        <p14:creationId xmlns:p14="http://schemas.microsoft.com/office/powerpoint/2010/main" val="1765140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865" y="362515"/>
            <a:ext cx="7955280" cy="853440"/>
          </a:xfrm>
        </p:spPr>
        <p:txBody>
          <a:bodyPr>
            <a:normAutofit/>
          </a:bodyPr>
          <a:lstStyle/>
          <a:p>
            <a:r>
              <a:rPr lang="en-US" sz="3200" dirty="0" smtClean="0"/>
              <a:t>Phase 1 - Immediate </a:t>
            </a:r>
            <a:r>
              <a:rPr lang="en-US" sz="3200" dirty="0"/>
              <a:t>Relief to </a:t>
            </a:r>
            <a:r>
              <a:rPr lang="en-US" sz="3200" dirty="0" smtClean="0"/>
              <a:t>Engineering</a:t>
            </a:r>
            <a:endParaRPr lang="en-US" sz="3200" dirty="0"/>
          </a:p>
        </p:txBody>
      </p:sp>
      <p:graphicFrame>
        <p:nvGraphicFramePr>
          <p:cNvPr id="15" name="Content Placeholder 14"/>
          <p:cNvGraphicFramePr>
            <a:graphicFrameLocks noGrp="1"/>
          </p:cNvGraphicFramePr>
          <p:nvPr>
            <p:ph sz="half" idx="1"/>
            <p:extLst>
              <p:ext uri="{D42A27DB-BD31-4B8C-83A1-F6EECF244321}">
                <p14:modId xmlns:p14="http://schemas.microsoft.com/office/powerpoint/2010/main" val="1648193512"/>
              </p:ext>
            </p:extLst>
          </p:nvPr>
        </p:nvGraphicFramePr>
        <p:xfrm>
          <a:off x="364632" y="1260764"/>
          <a:ext cx="8294460" cy="4713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7466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200" dirty="0" smtClean="0"/>
              <a:t>Phase 2 - Application </a:t>
            </a:r>
            <a:r>
              <a:rPr lang="en-US" sz="3200" dirty="0"/>
              <a:t>Release Automation</a:t>
            </a:r>
          </a:p>
        </p:txBody>
      </p:sp>
      <p:graphicFrame>
        <p:nvGraphicFramePr>
          <p:cNvPr id="13" name="Content Placeholder 12"/>
          <p:cNvGraphicFramePr>
            <a:graphicFrameLocks noGrp="1"/>
          </p:cNvGraphicFramePr>
          <p:nvPr>
            <p:ph sz="half" idx="1"/>
            <p:extLst>
              <p:ext uri="{D42A27DB-BD31-4B8C-83A1-F6EECF244321}">
                <p14:modId xmlns:p14="http://schemas.microsoft.com/office/powerpoint/2010/main" val="191815468"/>
              </p:ext>
            </p:extLst>
          </p:nvPr>
        </p:nvGraphicFramePr>
        <p:xfrm>
          <a:off x="364631" y="1091821"/>
          <a:ext cx="8349877" cy="48822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68054526"/>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A More In Depth Look</a:t>
            </a:r>
            <a:endParaRPr lang="en-US" dirty="0"/>
          </a:p>
        </p:txBody>
      </p:sp>
    </p:spTree>
    <p:extLst>
      <p:ext uri="{BB962C8B-B14F-4D97-AF65-F5344CB8AC3E}">
        <p14:creationId xmlns:p14="http://schemas.microsoft.com/office/powerpoint/2010/main" val="3532500543"/>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631" y="362515"/>
            <a:ext cx="8506414" cy="853440"/>
          </a:xfrm>
        </p:spPr>
        <p:txBody>
          <a:bodyPr>
            <a:noAutofit/>
          </a:bodyPr>
          <a:lstStyle/>
          <a:p>
            <a:r>
              <a:rPr lang="en-US" sz="3200" dirty="0"/>
              <a:t>Unified Deployment and </a:t>
            </a:r>
            <a:r>
              <a:rPr lang="en-US" sz="3200" dirty="0" smtClean="0"/>
              <a:t>Configuration Model</a:t>
            </a:r>
            <a:endParaRPr lang="en-US" sz="3200" dirty="0"/>
          </a:p>
        </p:txBody>
      </p:sp>
      <p:graphicFrame>
        <p:nvGraphicFramePr>
          <p:cNvPr id="24" name="Content Placeholder 23"/>
          <p:cNvGraphicFramePr>
            <a:graphicFrameLocks noGrp="1"/>
          </p:cNvGraphicFramePr>
          <p:nvPr>
            <p:ph sz="half" idx="1"/>
            <p:extLst>
              <p:ext uri="{D42A27DB-BD31-4B8C-83A1-F6EECF244321}">
                <p14:modId xmlns:p14="http://schemas.microsoft.com/office/powerpoint/2010/main" val="324656673"/>
              </p:ext>
            </p:extLst>
          </p:nvPr>
        </p:nvGraphicFramePr>
        <p:xfrm>
          <a:off x="364632" y="1004935"/>
          <a:ext cx="8381016" cy="53505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7572319"/>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3200" dirty="0"/>
              <a:t>Knowledge Transfer Efficiency</a:t>
            </a:r>
            <a:r>
              <a:rPr lang="en-US" dirty="0"/>
              <a:t/>
            </a:r>
            <a:br>
              <a:rPr lang="en-US" dirty="0"/>
            </a:br>
            <a:endParaRPr lang="en-US" dirty="0"/>
          </a:p>
        </p:txBody>
      </p:sp>
      <p:graphicFrame>
        <p:nvGraphicFramePr>
          <p:cNvPr id="8" name="Content Placeholder 7"/>
          <p:cNvGraphicFramePr>
            <a:graphicFrameLocks noGrp="1"/>
          </p:cNvGraphicFramePr>
          <p:nvPr>
            <p:ph sz="half" idx="1"/>
            <p:extLst>
              <p:ext uri="{D42A27DB-BD31-4B8C-83A1-F6EECF244321}">
                <p14:modId xmlns:p14="http://schemas.microsoft.com/office/powerpoint/2010/main" val="413653108"/>
              </p:ext>
            </p:extLst>
          </p:nvPr>
        </p:nvGraphicFramePr>
        <p:xfrm>
          <a:off x="221674" y="1052944"/>
          <a:ext cx="8731257" cy="49211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592816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Knowledge Transfer Efficiency – Configuration </a:t>
            </a:r>
            <a:r>
              <a:rPr lang="en-US" dirty="0" smtClean="0"/>
              <a:t>Changes</a:t>
            </a:r>
            <a:endParaRPr lang="en-US" dirty="0"/>
          </a:p>
        </p:txBody>
      </p:sp>
      <p:graphicFrame>
        <p:nvGraphicFramePr>
          <p:cNvPr id="6" name="Content Placeholder 35"/>
          <p:cNvGraphicFramePr>
            <a:graphicFrameLocks/>
          </p:cNvGraphicFramePr>
          <p:nvPr>
            <p:extLst>
              <p:ext uri="{D42A27DB-BD31-4B8C-83A1-F6EECF244321}">
                <p14:modId xmlns:p14="http://schemas.microsoft.com/office/powerpoint/2010/main" val="4115867486"/>
              </p:ext>
            </p:extLst>
          </p:nvPr>
        </p:nvGraphicFramePr>
        <p:xfrm>
          <a:off x="365760" y="847995"/>
          <a:ext cx="8595360" cy="32918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p:cNvGraphicFramePr>
            <a:graphicFrameLocks noGrp="1"/>
          </p:cNvGraphicFramePr>
          <p:nvPr>
            <p:ph sz="half" idx="1"/>
            <p:extLst>
              <p:ext uri="{D42A27DB-BD31-4B8C-83A1-F6EECF244321}">
                <p14:modId xmlns:p14="http://schemas.microsoft.com/office/powerpoint/2010/main" val="1430556631"/>
              </p:ext>
            </p:extLst>
          </p:nvPr>
        </p:nvGraphicFramePr>
        <p:xfrm>
          <a:off x="365760" y="3337513"/>
          <a:ext cx="8595360" cy="32918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855413874"/>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29582" y="-1"/>
            <a:ext cx="7484835" cy="657822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23658" y="122989"/>
            <a:ext cx="4015206" cy="253313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7656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60304" y="1"/>
            <a:ext cx="7623392" cy="65918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23658" y="122989"/>
            <a:ext cx="4015206" cy="253313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026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ail Notification– Failed Deployment</a:t>
            </a:r>
            <a:endParaRPr lang="en-US" dirty="0">
              <a:solidFill>
                <a:srgbClr val="FF0000"/>
              </a:solidFill>
            </a:endParaRPr>
          </a:p>
        </p:txBody>
      </p:sp>
      <p:pic>
        <p:nvPicPr>
          <p:cNvPr id="10" name="Content Placeholder 9"/>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253856" y="905775"/>
            <a:ext cx="8672451" cy="5689276"/>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3203" y="2170374"/>
            <a:ext cx="6106378" cy="1609950"/>
          </a:xfrm>
          <a:prstGeom prst="rect">
            <a:avLst/>
          </a:prstGeom>
          <a:effectLst>
            <a:outerShdw blurRad="63500" sx="102000" sy="102000" algn="ctr" rotWithShape="0">
              <a:prstClr val="black">
                <a:alpha val="40000"/>
              </a:prstClr>
            </a:outerShdw>
          </a:effectLst>
        </p:spPr>
      </p:pic>
      <p:sp>
        <p:nvSpPr>
          <p:cNvPr id="6" name="Oval 5"/>
          <p:cNvSpPr/>
          <p:nvPr/>
        </p:nvSpPr>
        <p:spPr>
          <a:xfrm>
            <a:off x="3774664" y="6319937"/>
            <a:ext cx="2008383" cy="273718"/>
          </a:xfrm>
          <a:prstGeom prst="ellipse">
            <a:avLst/>
          </a:prstGeom>
          <a:no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10"/>
          <p:cNvSpPr/>
          <p:nvPr/>
        </p:nvSpPr>
        <p:spPr>
          <a:xfrm>
            <a:off x="5895191" y="3242510"/>
            <a:ext cx="3234520" cy="433039"/>
          </a:xfrm>
          <a:prstGeom prst="ellipse">
            <a:avLst/>
          </a:prstGeom>
          <a:no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Curved Connector 8"/>
          <p:cNvCxnSpPr>
            <a:stCxn id="6" idx="6"/>
          </p:cNvCxnSpPr>
          <p:nvPr/>
        </p:nvCxnSpPr>
        <p:spPr>
          <a:xfrm flipV="1">
            <a:off x="5783047" y="3863021"/>
            <a:ext cx="1789789" cy="2593775"/>
          </a:xfrm>
          <a:prstGeom prst="curvedConnector2">
            <a:avLst/>
          </a:prstGeom>
          <a:ln w="28575">
            <a:solidFill>
              <a:srgbClr val="B7295A"/>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1339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1" name="Picture 280" descr="Dell_Proposal_Cover_Image_LETTER.jp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946911"/>
            <a:ext cx="9144000" cy="5916035"/>
          </a:xfrm>
          <a:prstGeom prst="rect">
            <a:avLst/>
          </a:prstGeom>
        </p:spPr>
      </p:pic>
      <p:sp>
        <p:nvSpPr>
          <p:cNvPr id="3" name="Rectangle 2"/>
          <p:cNvSpPr/>
          <p:nvPr/>
        </p:nvSpPr>
        <p:spPr>
          <a:xfrm>
            <a:off x="0" y="6200775"/>
            <a:ext cx="9151950" cy="657225"/>
          </a:xfrm>
          <a:prstGeom prst="rect">
            <a:avLst/>
          </a:prstGeom>
          <a:solidFill>
            <a:srgbClr val="FFFFFF"/>
          </a:solidFill>
          <a:effectLst/>
        </p:spPr>
        <p:txBody>
          <a:bodyPr wrap="square" rtlCol="0" anchor="t">
            <a:normAutofit/>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 name="Rectangle 1"/>
          <p:cNvSpPr/>
          <p:nvPr/>
        </p:nvSpPr>
        <p:spPr>
          <a:xfrm>
            <a:off x="0" y="864874"/>
            <a:ext cx="9144000" cy="5687561"/>
          </a:xfrm>
          <a:prstGeom prst="rect">
            <a:avLst/>
          </a:prstGeom>
          <a:solidFill>
            <a:srgbClr val="FFFFFF">
              <a:alpha val="75000"/>
            </a:srgbClr>
          </a:solidFill>
          <a:effectLst/>
        </p:spPr>
        <p:txBody>
          <a:bodyPr wrap="square" rtlCol="0" anchor="t">
            <a:normAutofit/>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grpSp>
        <p:nvGrpSpPr>
          <p:cNvPr id="6" name="Group 249"/>
          <p:cNvGrpSpPr/>
          <p:nvPr/>
        </p:nvGrpSpPr>
        <p:grpSpPr>
          <a:xfrm>
            <a:off x="647125" y="867425"/>
            <a:ext cx="7647992" cy="4218793"/>
            <a:chOff x="220663" y="1155377"/>
            <a:chExt cx="8758237" cy="4675188"/>
          </a:xfrm>
          <a:solidFill>
            <a:srgbClr val="0085C3"/>
          </a:solidFill>
        </p:grpSpPr>
        <p:sp>
          <p:nvSpPr>
            <p:cNvPr id="8" name="Freeform 257"/>
            <p:cNvSpPr>
              <a:spLocks/>
            </p:cNvSpPr>
            <p:nvPr/>
          </p:nvSpPr>
          <p:spPr bwMode="auto">
            <a:xfrm>
              <a:off x="4252913" y="2615877"/>
              <a:ext cx="109537" cy="163513"/>
            </a:xfrm>
            <a:custGeom>
              <a:avLst/>
              <a:gdLst/>
              <a:ahLst/>
              <a:cxnLst>
                <a:cxn ang="0">
                  <a:pos x="18" y="126"/>
                </a:cxn>
                <a:cxn ang="0">
                  <a:pos x="0" y="114"/>
                </a:cxn>
                <a:cxn ang="0">
                  <a:pos x="0" y="102"/>
                </a:cxn>
                <a:cxn ang="0">
                  <a:pos x="6" y="96"/>
                </a:cxn>
                <a:cxn ang="0">
                  <a:pos x="12" y="84"/>
                </a:cxn>
                <a:cxn ang="0">
                  <a:pos x="12" y="66"/>
                </a:cxn>
                <a:cxn ang="0">
                  <a:pos x="6" y="60"/>
                </a:cxn>
                <a:cxn ang="0">
                  <a:pos x="12" y="54"/>
                </a:cxn>
                <a:cxn ang="0">
                  <a:pos x="6" y="36"/>
                </a:cxn>
                <a:cxn ang="0">
                  <a:pos x="30" y="30"/>
                </a:cxn>
                <a:cxn ang="0">
                  <a:pos x="30" y="18"/>
                </a:cxn>
                <a:cxn ang="0">
                  <a:pos x="54" y="0"/>
                </a:cxn>
                <a:cxn ang="0">
                  <a:pos x="60" y="6"/>
                </a:cxn>
                <a:cxn ang="0">
                  <a:pos x="72" y="6"/>
                </a:cxn>
                <a:cxn ang="0">
                  <a:pos x="78" y="18"/>
                </a:cxn>
                <a:cxn ang="0">
                  <a:pos x="84" y="30"/>
                </a:cxn>
                <a:cxn ang="0">
                  <a:pos x="72" y="42"/>
                </a:cxn>
                <a:cxn ang="0">
                  <a:pos x="78" y="66"/>
                </a:cxn>
                <a:cxn ang="0">
                  <a:pos x="72" y="96"/>
                </a:cxn>
                <a:cxn ang="0">
                  <a:pos x="54" y="102"/>
                </a:cxn>
                <a:cxn ang="0">
                  <a:pos x="18" y="126"/>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 name="Freeform 259"/>
            <p:cNvSpPr>
              <a:spLocks/>
            </p:cNvSpPr>
            <p:nvPr/>
          </p:nvSpPr>
          <p:spPr bwMode="auto">
            <a:xfrm>
              <a:off x="5572125" y="4558977"/>
              <a:ext cx="166688" cy="346075"/>
            </a:xfrm>
            <a:custGeom>
              <a:avLst/>
              <a:gdLst/>
              <a:ahLst/>
              <a:cxnLst>
                <a:cxn ang="0">
                  <a:pos x="6" y="217"/>
                </a:cxn>
                <a:cxn ang="0">
                  <a:pos x="0" y="193"/>
                </a:cxn>
                <a:cxn ang="0">
                  <a:pos x="12" y="169"/>
                </a:cxn>
                <a:cxn ang="0">
                  <a:pos x="24" y="139"/>
                </a:cxn>
                <a:cxn ang="0">
                  <a:pos x="12" y="91"/>
                </a:cxn>
                <a:cxn ang="0">
                  <a:pos x="30" y="78"/>
                </a:cxn>
                <a:cxn ang="0">
                  <a:pos x="54" y="60"/>
                </a:cxn>
                <a:cxn ang="0">
                  <a:pos x="78" y="24"/>
                </a:cxn>
                <a:cxn ang="0">
                  <a:pos x="108" y="0"/>
                </a:cxn>
                <a:cxn ang="0">
                  <a:pos x="126" y="24"/>
                </a:cxn>
                <a:cxn ang="0">
                  <a:pos x="126" y="66"/>
                </a:cxn>
                <a:cxn ang="0">
                  <a:pos x="126" y="91"/>
                </a:cxn>
                <a:cxn ang="0">
                  <a:pos x="78" y="253"/>
                </a:cxn>
                <a:cxn ang="0">
                  <a:pos x="54" y="259"/>
                </a:cxn>
                <a:cxn ang="0">
                  <a:pos x="30" y="265"/>
                </a:cxn>
                <a:cxn ang="0">
                  <a:pos x="6" y="247"/>
                </a:cxn>
                <a:cxn ang="0">
                  <a:pos x="6" y="217"/>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 name="Freeform 266"/>
            <p:cNvSpPr>
              <a:spLocks/>
            </p:cNvSpPr>
            <p:nvPr/>
          </p:nvSpPr>
          <p:spPr bwMode="auto">
            <a:xfrm>
              <a:off x="8650288" y="5355902"/>
              <a:ext cx="179387" cy="204788"/>
            </a:xfrm>
            <a:custGeom>
              <a:avLst/>
              <a:gdLst/>
              <a:ahLst/>
              <a:cxnLst>
                <a:cxn ang="0">
                  <a:pos x="0" y="133"/>
                </a:cxn>
                <a:cxn ang="0">
                  <a:pos x="18" y="97"/>
                </a:cxn>
                <a:cxn ang="0">
                  <a:pos x="30" y="79"/>
                </a:cxn>
                <a:cxn ang="0">
                  <a:pos x="66" y="60"/>
                </a:cxn>
                <a:cxn ang="0">
                  <a:pos x="78" y="54"/>
                </a:cxn>
                <a:cxn ang="0">
                  <a:pos x="90" y="30"/>
                </a:cxn>
                <a:cxn ang="0">
                  <a:pos x="102" y="0"/>
                </a:cxn>
                <a:cxn ang="0">
                  <a:pos x="114" y="12"/>
                </a:cxn>
                <a:cxn ang="0">
                  <a:pos x="138" y="18"/>
                </a:cxn>
                <a:cxn ang="0">
                  <a:pos x="138" y="36"/>
                </a:cxn>
                <a:cxn ang="0">
                  <a:pos x="114" y="54"/>
                </a:cxn>
                <a:cxn ang="0">
                  <a:pos x="102" y="67"/>
                </a:cxn>
                <a:cxn ang="0">
                  <a:pos x="78" y="91"/>
                </a:cxn>
                <a:cxn ang="0">
                  <a:pos x="72" y="115"/>
                </a:cxn>
                <a:cxn ang="0">
                  <a:pos x="66" y="151"/>
                </a:cxn>
                <a:cxn ang="0">
                  <a:pos x="36" y="157"/>
                </a:cxn>
                <a:cxn ang="0">
                  <a:pos x="18" y="151"/>
                </a:cxn>
                <a:cxn ang="0">
                  <a:pos x="0" y="133"/>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 name="Freeform 267"/>
            <p:cNvSpPr>
              <a:spLocks/>
            </p:cNvSpPr>
            <p:nvPr/>
          </p:nvSpPr>
          <p:spPr bwMode="auto">
            <a:xfrm>
              <a:off x="8805863" y="5171752"/>
              <a:ext cx="125412" cy="201613"/>
            </a:xfrm>
            <a:custGeom>
              <a:avLst/>
              <a:gdLst/>
              <a:ahLst/>
              <a:cxnLst>
                <a:cxn ang="0">
                  <a:pos x="6" y="108"/>
                </a:cxn>
                <a:cxn ang="0">
                  <a:pos x="24" y="78"/>
                </a:cxn>
                <a:cxn ang="0">
                  <a:pos x="24" y="54"/>
                </a:cxn>
                <a:cxn ang="0">
                  <a:pos x="0" y="0"/>
                </a:cxn>
                <a:cxn ang="0">
                  <a:pos x="30" y="12"/>
                </a:cxn>
                <a:cxn ang="0">
                  <a:pos x="30" y="42"/>
                </a:cxn>
                <a:cxn ang="0">
                  <a:pos x="42" y="60"/>
                </a:cxn>
                <a:cxn ang="0">
                  <a:pos x="60" y="78"/>
                </a:cxn>
                <a:cxn ang="0">
                  <a:pos x="84" y="66"/>
                </a:cxn>
                <a:cxn ang="0">
                  <a:pos x="96" y="78"/>
                </a:cxn>
                <a:cxn ang="0">
                  <a:pos x="90" y="90"/>
                </a:cxn>
                <a:cxn ang="0">
                  <a:pos x="78" y="102"/>
                </a:cxn>
                <a:cxn ang="0">
                  <a:pos x="66" y="114"/>
                </a:cxn>
                <a:cxn ang="0">
                  <a:pos x="60" y="132"/>
                </a:cxn>
                <a:cxn ang="0">
                  <a:pos x="42" y="156"/>
                </a:cxn>
                <a:cxn ang="0">
                  <a:pos x="24" y="144"/>
                </a:cxn>
                <a:cxn ang="0">
                  <a:pos x="30" y="126"/>
                </a:cxn>
                <a:cxn ang="0">
                  <a:pos x="6" y="108"/>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 name="Freeform 268"/>
            <p:cNvSpPr>
              <a:spLocks/>
            </p:cNvSpPr>
            <p:nvPr/>
          </p:nvSpPr>
          <p:spPr bwMode="auto">
            <a:xfrm>
              <a:off x="7323138" y="4544690"/>
              <a:ext cx="989012" cy="750887"/>
            </a:xfrm>
            <a:custGeom>
              <a:avLst/>
              <a:gdLst/>
              <a:ahLst/>
              <a:cxnLst>
                <a:cxn ang="0">
                  <a:pos x="36" y="415"/>
                </a:cxn>
                <a:cxn ang="0">
                  <a:pos x="6" y="307"/>
                </a:cxn>
                <a:cxn ang="0">
                  <a:pos x="0" y="247"/>
                </a:cxn>
                <a:cxn ang="0">
                  <a:pos x="30" y="193"/>
                </a:cxn>
                <a:cxn ang="0">
                  <a:pos x="114" y="151"/>
                </a:cxn>
                <a:cxn ang="0">
                  <a:pos x="156" y="109"/>
                </a:cxn>
                <a:cxn ang="0">
                  <a:pos x="204" y="90"/>
                </a:cxn>
                <a:cxn ang="0">
                  <a:pos x="264" y="48"/>
                </a:cxn>
                <a:cxn ang="0">
                  <a:pos x="300" y="66"/>
                </a:cxn>
                <a:cxn ang="0">
                  <a:pos x="330" y="24"/>
                </a:cxn>
                <a:cxn ang="0">
                  <a:pos x="372" y="0"/>
                </a:cxn>
                <a:cxn ang="0">
                  <a:pos x="438" y="12"/>
                </a:cxn>
                <a:cxn ang="0">
                  <a:pos x="420" y="66"/>
                </a:cxn>
                <a:cxn ang="0">
                  <a:pos x="468" y="78"/>
                </a:cxn>
                <a:cxn ang="0">
                  <a:pos x="510" y="109"/>
                </a:cxn>
                <a:cxn ang="0">
                  <a:pos x="540" y="30"/>
                </a:cxn>
                <a:cxn ang="0">
                  <a:pos x="576" y="42"/>
                </a:cxn>
                <a:cxn ang="0">
                  <a:pos x="594" y="60"/>
                </a:cxn>
                <a:cxn ang="0">
                  <a:pos x="642" y="151"/>
                </a:cxn>
                <a:cxn ang="0">
                  <a:pos x="690" y="199"/>
                </a:cxn>
                <a:cxn ang="0">
                  <a:pos x="714" y="241"/>
                </a:cxn>
                <a:cxn ang="0">
                  <a:pos x="751" y="289"/>
                </a:cxn>
                <a:cxn ang="0">
                  <a:pos x="757" y="379"/>
                </a:cxn>
                <a:cxn ang="0">
                  <a:pos x="696" y="523"/>
                </a:cxn>
                <a:cxn ang="0">
                  <a:pos x="684" y="547"/>
                </a:cxn>
                <a:cxn ang="0">
                  <a:pos x="636" y="577"/>
                </a:cxn>
                <a:cxn ang="0">
                  <a:pos x="594" y="559"/>
                </a:cxn>
                <a:cxn ang="0">
                  <a:pos x="534" y="553"/>
                </a:cxn>
                <a:cxn ang="0">
                  <a:pos x="480" y="505"/>
                </a:cxn>
                <a:cxn ang="0">
                  <a:pos x="444" y="487"/>
                </a:cxn>
                <a:cxn ang="0">
                  <a:pos x="378" y="421"/>
                </a:cxn>
                <a:cxn ang="0">
                  <a:pos x="264" y="415"/>
                </a:cxn>
                <a:cxn ang="0">
                  <a:pos x="198" y="451"/>
                </a:cxn>
                <a:cxn ang="0">
                  <a:pos x="138" y="457"/>
                </a:cxn>
                <a:cxn ang="0">
                  <a:pos x="84" y="487"/>
                </a:cxn>
                <a:cxn ang="0">
                  <a:pos x="30" y="463"/>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4" name="Freeform 269"/>
            <p:cNvSpPr>
              <a:spLocks/>
            </p:cNvSpPr>
            <p:nvPr/>
          </p:nvSpPr>
          <p:spPr bwMode="auto">
            <a:xfrm>
              <a:off x="8099425" y="5340027"/>
              <a:ext cx="87313" cy="119063"/>
            </a:xfrm>
            <a:custGeom>
              <a:avLst/>
              <a:gdLst/>
              <a:ahLst/>
              <a:cxnLst>
                <a:cxn ang="0">
                  <a:pos x="0" y="18"/>
                </a:cxn>
                <a:cxn ang="0">
                  <a:pos x="12" y="48"/>
                </a:cxn>
                <a:cxn ang="0">
                  <a:pos x="18" y="72"/>
                </a:cxn>
                <a:cxn ang="0">
                  <a:pos x="36" y="91"/>
                </a:cxn>
                <a:cxn ang="0">
                  <a:pos x="48" y="66"/>
                </a:cxn>
                <a:cxn ang="0">
                  <a:pos x="66" y="30"/>
                </a:cxn>
                <a:cxn ang="0">
                  <a:pos x="66" y="0"/>
                </a:cxn>
                <a:cxn ang="0">
                  <a:pos x="42" y="12"/>
                </a:cxn>
                <a:cxn ang="0">
                  <a:pos x="0" y="18"/>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5" name="Freeform 270"/>
            <p:cNvSpPr>
              <a:spLocks/>
            </p:cNvSpPr>
            <p:nvPr/>
          </p:nvSpPr>
          <p:spPr bwMode="auto">
            <a:xfrm>
              <a:off x="6899275" y="4131940"/>
              <a:ext cx="241300" cy="265112"/>
            </a:xfrm>
            <a:custGeom>
              <a:avLst/>
              <a:gdLst/>
              <a:ahLst/>
              <a:cxnLst>
                <a:cxn ang="0">
                  <a:pos x="0" y="0"/>
                </a:cxn>
                <a:cxn ang="0">
                  <a:pos x="4" y="0"/>
                </a:cxn>
                <a:cxn ang="0">
                  <a:pos x="8" y="6"/>
                </a:cxn>
                <a:cxn ang="0">
                  <a:pos x="11" y="8"/>
                </a:cxn>
                <a:cxn ang="0">
                  <a:pos x="16" y="10"/>
                </a:cxn>
                <a:cxn ang="0">
                  <a:pos x="24" y="17"/>
                </a:cxn>
                <a:cxn ang="0">
                  <a:pos x="26" y="20"/>
                </a:cxn>
                <a:cxn ang="0">
                  <a:pos x="30" y="25"/>
                </a:cxn>
                <a:cxn ang="0">
                  <a:pos x="31" y="31"/>
                </a:cxn>
                <a:cxn ang="0">
                  <a:pos x="27" y="34"/>
                </a:cxn>
                <a:cxn ang="0">
                  <a:pos x="21" y="29"/>
                </a:cxn>
                <a:cxn ang="0">
                  <a:pos x="15" y="26"/>
                </a:cxn>
                <a:cxn ang="0">
                  <a:pos x="12" y="18"/>
                </a:cxn>
                <a:cxn ang="0">
                  <a:pos x="9" y="16"/>
                </a:cxn>
                <a:cxn ang="0">
                  <a:pos x="6" y="12"/>
                </a:cxn>
                <a:cxn ang="0">
                  <a:pos x="1" y="8"/>
                </a:cxn>
                <a:cxn ang="0">
                  <a:pos x="0" y="0"/>
                </a:cxn>
              </a:cxnLst>
              <a:rect l="0" t="0" r="r" b="b"/>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 name="Freeform 271"/>
            <p:cNvSpPr>
              <a:spLocks/>
            </p:cNvSpPr>
            <p:nvPr/>
          </p:nvSpPr>
          <p:spPr bwMode="auto">
            <a:xfrm>
              <a:off x="7229475" y="4084315"/>
              <a:ext cx="227013" cy="265112"/>
            </a:xfrm>
            <a:custGeom>
              <a:avLst/>
              <a:gdLst/>
              <a:ahLst/>
              <a:cxnLst>
                <a:cxn ang="0">
                  <a:pos x="12" y="168"/>
                </a:cxn>
                <a:cxn ang="0">
                  <a:pos x="0" y="144"/>
                </a:cxn>
                <a:cxn ang="0">
                  <a:pos x="0" y="108"/>
                </a:cxn>
                <a:cxn ang="0">
                  <a:pos x="12" y="90"/>
                </a:cxn>
                <a:cxn ang="0">
                  <a:pos x="36" y="84"/>
                </a:cxn>
                <a:cxn ang="0">
                  <a:pos x="60" y="66"/>
                </a:cxn>
                <a:cxn ang="0">
                  <a:pos x="96" y="24"/>
                </a:cxn>
                <a:cxn ang="0">
                  <a:pos x="138" y="0"/>
                </a:cxn>
                <a:cxn ang="0">
                  <a:pos x="162" y="12"/>
                </a:cxn>
                <a:cxn ang="0">
                  <a:pos x="174" y="30"/>
                </a:cxn>
                <a:cxn ang="0">
                  <a:pos x="156" y="48"/>
                </a:cxn>
                <a:cxn ang="0">
                  <a:pos x="150" y="66"/>
                </a:cxn>
                <a:cxn ang="0">
                  <a:pos x="156" y="90"/>
                </a:cxn>
                <a:cxn ang="0">
                  <a:pos x="174" y="108"/>
                </a:cxn>
                <a:cxn ang="0">
                  <a:pos x="156" y="120"/>
                </a:cxn>
                <a:cxn ang="0">
                  <a:pos x="150" y="132"/>
                </a:cxn>
                <a:cxn ang="0">
                  <a:pos x="138" y="150"/>
                </a:cxn>
                <a:cxn ang="0">
                  <a:pos x="126" y="168"/>
                </a:cxn>
                <a:cxn ang="0">
                  <a:pos x="114" y="198"/>
                </a:cxn>
                <a:cxn ang="0">
                  <a:pos x="90" y="204"/>
                </a:cxn>
                <a:cxn ang="0">
                  <a:pos x="72" y="192"/>
                </a:cxn>
                <a:cxn ang="0">
                  <a:pos x="42" y="192"/>
                </a:cxn>
                <a:cxn ang="0">
                  <a:pos x="24" y="192"/>
                </a:cxn>
                <a:cxn ang="0">
                  <a:pos x="12" y="168"/>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 name="Freeform 274"/>
            <p:cNvSpPr>
              <a:spLocks/>
            </p:cNvSpPr>
            <p:nvPr/>
          </p:nvSpPr>
          <p:spPr bwMode="auto">
            <a:xfrm>
              <a:off x="7456488" y="4224015"/>
              <a:ext cx="141287" cy="173037"/>
            </a:xfrm>
            <a:custGeom>
              <a:avLst/>
              <a:gdLst/>
              <a:ahLst/>
              <a:cxnLst>
                <a:cxn ang="0">
                  <a:pos x="12" y="126"/>
                </a:cxn>
                <a:cxn ang="0">
                  <a:pos x="12" y="108"/>
                </a:cxn>
                <a:cxn ang="0">
                  <a:pos x="0" y="84"/>
                </a:cxn>
                <a:cxn ang="0">
                  <a:pos x="6" y="66"/>
                </a:cxn>
                <a:cxn ang="0">
                  <a:pos x="24" y="24"/>
                </a:cxn>
                <a:cxn ang="0">
                  <a:pos x="36" y="12"/>
                </a:cxn>
                <a:cxn ang="0">
                  <a:pos x="66" y="6"/>
                </a:cxn>
                <a:cxn ang="0">
                  <a:pos x="108" y="0"/>
                </a:cxn>
                <a:cxn ang="0">
                  <a:pos x="108" y="12"/>
                </a:cxn>
                <a:cxn ang="0">
                  <a:pos x="90" y="12"/>
                </a:cxn>
                <a:cxn ang="0">
                  <a:pos x="54" y="24"/>
                </a:cxn>
                <a:cxn ang="0">
                  <a:pos x="42" y="42"/>
                </a:cxn>
                <a:cxn ang="0">
                  <a:pos x="84" y="42"/>
                </a:cxn>
                <a:cxn ang="0">
                  <a:pos x="90" y="60"/>
                </a:cxn>
                <a:cxn ang="0">
                  <a:pos x="78" y="66"/>
                </a:cxn>
                <a:cxn ang="0">
                  <a:pos x="66" y="78"/>
                </a:cxn>
                <a:cxn ang="0">
                  <a:pos x="90" y="102"/>
                </a:cxn>
                <a:cxn ang="0">
                  <a:pos x="96" y="126"/>
                </a:cxn>
                <a:cxn ang="0">
                  <a:pos x="72" y="126"/>
                </a:cxn>
                <a:cxn ang="0">
                  <a:pos x="54" y="108"/>
                </a:cxn>
                <a:cxn ang="0">
                  <a:pos x="36" y="84"/>
                </a:cxn>
                <a:cxn ang="0">
                  <a:pos x="36" y="114"/>
                </a:cxn>
                <a:cxn ang="0">
                  <a:pos x="36" y="132"/>
                </a:cxn>
                <a:cxn ang="0">
                  <a:pos x="12" y="126"/>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8" name="Freeform 275"/>
            <p:cNvSpPr>
              <a:spLocks/>
            </p:cNvSpPr>
            <p:nvPr/>
          </p:nvSpPr>
          <p:spPr bwMode="auto">
            <a:xfrm>
              <a:off x="7135813" y="4420865"/>
              <a:ext cx="265112" cy="60325"/>
            </a:xfrm>
            <a:custGeom>
              <a:avLst/>
              <a:gdLst/>
              <a:ahLst/>
              <a:cxnLst>
                <a:cxn ang="0">
                  <a:pos x="0" y="1"/>
                </a:cxn>
                <a:cxn ang="0">
                  <a:pos x="9" y="0"/>
                </a:cxn>
                <a:cxn ang="0">
                  <a:pos x="16" y="0"/>
                </a:cxn>
                <a:cxn ang="0">
                  <a:pos x="20" y="1"/>
                </a:cxn>
                <a:cxn ang="0">
                  <a:pos x="23" y="3"/>
                </a:cxn>
                <a:cxn ang="0">
                  <a:pos x="31" y="5"/>
                </a:cxn>
                <a:cxn ang="0">
                  <a:pos x="34" y="8"/>
                </a:cxn>
                <a:cxn ang="0">
                  <a:pos x="26" y="7"/>
                </a:cxn>
                <a:cxn ang="0">
                  <a:pos x="19" y="6"/>
                </a:cxn>
                <a:cxn ang="0">
                  <a:pos x="8" y="4"/>
                </a:cxn>
                <a:cxn ang="0">
                  <a:pos x="0" y="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9525">
              <a:solidFill>
                <a:srgbClr val="0085C3"/>
              </a:solidFill>
              <a:round/>
              <a:headEnd/>
              <a:tailEnd/>
            </a:ln>
          </p:spPr>
          <p:txBody>
            <a:bodyPr/>
            <a:lstStyle/>
            <a:p>
              <a:endParaRPr lang="en-US" dirty="0">
                <a:solidFill>
                  <a:srgbClr val="444444"/>
                </a:solidFill>
              </a:endParaRPr>
            </a:p>
          </p:txBody>
        </p:sp>
        <p:sp>
          <p:nvSpPr>
            <p:cNvPr id="19" name="Freeform 276"/>
            <p:cNvSpPr>
              <a:spLocks/>
            </p:cNvSpPr>
            <p:nvPr/>
          </p:nvSpPr>
          <p:spPr bwMode="auto">
            <a:xfrm>
              <a:off x="2928938" y="2784152"/>
              <a:ext cx="158750" cy="179388"/>
            </a:xfrm>
            <a:custGeom>
              <a:avLst/>
              <a:gdLst/>
              <a:ahLst/>
              <a:cxnLst>
                <a:cxn ang="0">
                  <a:pos x="0" y="114"/>
                </a:cxn>
                <a:cxn ang="0">
                  <a:pos x="0" y="90"/>
                </a:cxn>
                <a:cxn ang="0">
                  <a:pos x="6" y="72"/>
                </a:cxn>
                <a:cxn ang="0">
                  <a:pos x="36" y="24"/>
                </a:cxn>
                <a:cxn ang="0">
                  <a:pos x="66" y="0"/>
                </a:cxn>
                <a:cxn ang="0">
                  <a:pos x="66" y="18"/>
                </a:cxn>
                <a:cxn ang="0">
                  <a:pos x="54" y="42"/>
                </a:cxn>
                <a:cxn ang="0">
                  <a:pos x="60" y="54"/>
                </a:cxn>
                <a:cxn ang="0">
                  <a:pos x="108" y="78"/>
                </a:cxn>
                <a:cxn ang="0">
                  <a:pos x="120" y="108"/>
                </a:cxn>
                <a:cxn ang="0">
                  <a:pos x="120" y="132"/>
                </a:cxn>
                <a:cxn ang="0">
                  <a:pos x="96" y="138"/>
                </a:cxn>
                <a:cxn ang="0">
                  <a:pos x="84" y="120"/>
                </a:cxn>
                <a:cxn ang="0">
                  <a:pos x="66" y="126"/>
                </a:cxn>
                <a:cxn ang="0">
                  <a:pos x="48" y="114"/>
                </a:cxn>
                <a:cxn ang="0">
                  <a:pos x="18" y="108"/>
                </a:cxn>
                <a:cxn ang="0">
                  <a:pos x="0" y="114"/>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 name="Freeform 277"/>
            <p:cNvSpPr>
              <a:spLocks/>
            </p:cNvSpPr>
            <p:nvPr/>
          </p:nvSpPr>
          <p:spPr bwMode="auto">
            <a:xfrm>
              <a:off x="2276475" y="3690615"/>
              <a:ext cx="276225" cy="77787"/>
            </a:xfrm>
            <a:custGeom>
              <a:avLst/>
              <a:gdLst/>
              <a:ahLst/>
              <a:cxnLst>
                <a:cxn ang="0">
                  <a:pos x="2" y="1"/>
                </a:cxn>
                <a:cxn ang="0">
                  <a:pos x="8" y="0"/>
                </a:cxn>
                <a:cxn ang="0">
                  <a:pos x="19" y="0"/>
                </a:cxn>
                <a:cxn ang="0">
                  <a:pos x="26" y="3"/>
                </a:cxn>
                <a:cxn ang="0">
                  <a:pos x="28" y="6"/>
                </a:cxn>
                <a:cxn ang="0">
                  <a:pos x="33" y="7"/>
                </a:cxn>
                <a:cxn ang="0">
                  <a:pos x="35" y="9"/>
                </a:cxn>
                <a:cxn ang="0">
                  <a:pos x="33" y="10"/>
                </a:cxn>
                <a:cxn ang="0">
                  <a:pos x="25" y="10"/>
                </a:cxn>
                <a:cxn ang="0">
                  <a:pos x="23" y="8"/>
                </a:cxn>
                <a:cxn ang="0">
                  <a:pos x="21" y="5"/>
                </a:cxn>
                <a:cxn ang="0">
                  <a:pos x="15" y="4"/>
                </a:cxn>
                <a:cxn ang="0">
                  <a:pos x="9" y="4"/>
                </a:cxn>
                <a:cxn ang="0">
                  <a:pos x="5" y="4"/>
                </a:cxn>
                <a:cxn ang="0">
                  <a:pos x="0" y="3"/>
                </a:cxn>
                <a:cxn ang="0">
                  <a:pos x="2" y="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1" name="Freeform 278"/>
            <p:cNvSpPr>
              <a:spLocks/>
            </p:cNvSpPr>
            <p:nvPr/>
          </p:nvSpPr>
          <p:spPr bwMode="auto">
            <a:xfrm>
              <a:off x="2552700" y="3776340"/>
              <a:ext cx="171450" cy="47625"/>
            </a:xfrm>
            <a:custGeom>
              <a:avLst/>
              <a:gdLst/>
              <a:ahLst/>
              <a:cxnLst>
                <a:cxn ang="0">
                  <a:pos x="24" y="0"/>
                </a:cxn>
                <a:cxn ang="0">
                  <a:pos x="24" y="12"/>
                </a:cxn>
                <a:cxn ang="0">
                  <a:pos x="0" y="18"/>
                </a:cxn>
                <a:cxn ang="0">
                  <a:pos x="30" y="30"/>
                </a:cxn>
                <a:cxn ang="0">
                  <a:pos x="42" y="36"/>
                </a:cxn>
                <a:cxn ang="0">
                  <a:pos x="66" y="36"/>
                </a:cxn>
                <a:cxn ang="0">
                  <a:pos x="84" y="24"/>
                </a:cxn>
                <a:cxn ang="0">
                  <a:pos x="132" y="30"/>
                </a:cxn>
                <a:cxn ang="0">
                  <a:pos x="108" y="18"/>
                </a:cxn>
                <a:cxn ang="0">
                  <a:pos x="72" y="0"/>
                </a:cxn>
                <a:cxn ang="0">
                  <a:pos x="24" y="0"/>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2" name="Freeform 279"/>
            <p:cNvSpPr>
              <a:spLocks/>
            </p:cNvSpPr>
            <p:nvPr/>
          </p:nvSpPr>
          <p:spPr bwMode="auto">
            <a:xfrm>
              <a:off x="4795838" y="3235002"/>
              <a:ext cx="77787" cy="46038"/>
            </a:xfrm>
            <a:custGeom>
              <a:avLst/>
              <a:gdLst/>
              <a:ahLst/>
              <a:cxnLst>
                <a:cxn ang="0">
                  <a:pos x="0" y="12"/>
                </a:cxn>
                <a:cxn ang="0">
                  <a:pos x="36" y="0"/>
                </a:cxn>
                <a:cxn ang="0">
                  <a:pos x="60" y="6"/>
                </a:cxn>
                <a:cxn ang="0">
                  <a:pos x="60" y="18"/>
                </a:cxn>
                <a:cxn ang="0">
                  <a:pos x="54" y="36"/>
                </a:cxn>
                <a:cxn ang="0">
                  <a:pos x="30" y="24"/>
                </a:cxn>
                <a:cxn ang="0">
                  <a:pos x="0" y="12"/>
                </a:cxn>
              </a:cxnLst>
              <a:rect l="0" t="0" r="r" b="b"/>
              <a:pathLst>
                <a:path w="60" h="36">
                  <a:moveTo>
                    <a:pt x="0" y="12"/>
                  </a:moveTo>
                  <a:lnTo>
                    <a:pt x="36" y="0"/>
                  </a:lnTo>
                  <a:lnTo>
                    <a:pt x="60" y="6"/>
                  </a:lnTo>
                  <a:lnTo>
                    <a:pt x="60" y="18"/>
                  </a:lnTo>
                  <a:lnTo>
                    <a:pt x="54" y="36"/>
                  </a:lnTo>
                  <a:lnTo>
                    <a:pt x="30" y="24"/>
                  </a:lnTo>
                  <a:lnTo>
                    <a:pt x="0"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3" name="Freeform 280"/>
            <p:cNvSpPr>
              <a:spLocks/>
            </p:cNvSpPr>
            <p:nvPr/>
          </p:nvSpPr>
          <p:spPr bwMode="auto">
            <a:xfrm>
              <a:off x="4708525" y="3147690"/>
              <a:ext cx="31750" cy="61912"/>
            </a:xfrm>
            <a:custGeom>
              <a:avLst/>
              <a:gdLst/>
              <a:ahLst/>
              <a:cxnLst>
                <a:cxn ang="0">
                  <a:pos x="0" y="48"/>
                </a:cxn>
                <a:cxn ang="0">
                  <a:pos x="6" y="6"/>
                </a:cxn>
                <a:cxn ang="0">
                  <a:pos x="18" y="0"/>
                </a:cxn>
                <a:cxn ang="0">
                  <a:pos x="24" y="24"/>
                </a:cxn>
                <a:cxn ang="0">
                  <a:pos x="24" y="48"/>
                </a:cxn>
                <a:cxn ang="0">
                  <a:pos x="0" y="48"/>
                </a:cxn>
              </a:cxnLst>
              <a:rect l="0" t="0" r="r" b="b"/>
              <a:pathLst>
                <a:path w="24" h="48">
                  <a:moveTo>
                    <a:pt x="0" y="48"/>
                  </a:moveTo>
                  <a:lnTo>
                    <a:pt x="6" y="6"/>
                  </a:lnTo>
                  <a:lnTo>
                    <a:pt x="18" y="0"/>
                  </a:lnTo>
                  <a:lnTo>
                    <a:pt x="24" y="24"/>
                  </a:lnTo>
                  <a:lnTo>
                    <a:pt x="24" y="48"/>
                  </a:lnTo>
                  <a:lnTo>
                    <a:pt x="0" y="4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4" name="Freeform 281"/>
            <p:cNvSpPr>
              <a:spLocks/>
            </p:cNvSpPr>
            <p:nvPr/>
          </p:nvSpPr>
          <p:spPr bwMode="auto">
            <a:xfrm>
              <a:off x="4700588" y="3084190"/>
              <a:ext cx="39687" cy="47625"/>
            </a:xfrm>
            <a:custGeom>
              <a:avLst/>
              <a:gdLst/>
              <a:ahLst/>
              <a:cxnLst>
                <a:cxn ang="0">
                  <a:pos x="0" y="12"/>
                </a:cxn>
                <a:cxn ang="0">
                  <a:pos x="24" y="0"/>
                </a:cxn>
                <a:cxn ang="0">
                  <a:pos x="30" y="24"/>
                </a:cxn>
                <a:cxn ang="0">
                  <a:pos x="24" y="37"/>
                </a:cxn>
                <a:cxn ang="0">
                  <a:pos x="0" y="12"/>
                </a:cxn>
              </a:cxnLst>
              <a:rect l="0" t="0" r="r" b="b"/>
              <a:pathLst>
                <a:path w="30" h="37">
                  <a:moveTo>
                    <a:pt x="0" y="12"/>
                  </a:moveTo>
                  <a:lnTo>
                    <a:pt x="24" y="0"/>
                  </a:lnTo>
                  <a:lnTo>
                    <a:pt x="30" y="24"/>
                  </a:lnTo>
                  <a:lnTo>
                    <a:pt x="24" y="37"/>
                  </a:lnTo>
                  <a:lnTo>
                    <a:pt x="0"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5" name="Freeform 282"/>
            <p:cNvSpPr>
              <a:spLocks/>
            </p:cNvSpPr>
            <p:nvPr/>
          </p:nvSpPr>
          <p:spPr bwMode="auto">
            <a:xfrm>
              <a:off x="5518150" y="3273102"/>
              <a:ext cx="39688" cy="7938"/>
            </a:xfrm>
            <a:custGeom>
              <a:avLst/>
              <a:gdLst/>
              <a:ahLst/>
              <a:cxnLst>
                <a:cxn ang="0">
                  <a:pos x="24" y="0"/>
                </a:cxn>
                <a:cxn ang="0">
                  <a:pos x="30" y="0"/>
                </a:cxn>
                <a:cxn ang="0">
                  <a:pos x="0" y="6"/>
                </a:cxn>
                <a:cxn ang="0">
                  <a:pos x="24" y="0"/>
                </a:cxn>
              </a:cxnLst>
              <a:rect l="0" t="0" r="r" b="b"/>
              <a:pathLst>
                <a:path w="30" h="6">
                  <a:moveTo>
                    <a:pt x="24" y="0"/>
                  </a:moveTo>
                  <a:lnTo>
                    <a:pt x="30" y="0"/>
                  </a:lnTo>
                  <a:lnTo>
                    <a:pt x="0" y="6"/>
                  </a:lnTo>
                  <a:lnTo>
                    <a:pt x="24"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6" name="Rectangle 283"/>
            <p:cNvSpPr>
              <a:spLocks noChangeArrowheads="1"/>
            </p:cNvSpPr>
            <p:nvPr/>
          </p:nvSpPr>
          <p:spPr bwMode="auto">
            <a:xfrm>
              <a:off x="5378450" y="3504877"/>
              <a:ext cx="0" cy="3175"/>
            </a:xfrm>
            <a:prstGeom prst="rect">
              <a:avLst/>
            </a:prstGeom>
            <a:grpFill/>
            <a:ln w="9525">
              <a:solidFill>
                <a:srgbClr val="0085C3"/>
              </a:solidFill>
              <a:miter lim="800000"/>
              <a:headEnd/>
              <a:tailEnd/>
            </a:ln>
          </p:spPr>
          <p:txBody>
            <a:bodyPr/>
            <a:lstStyle/>
            <a:p>
              <a:endParaRPr lang="en-US" dirty="0">
                <a:solidFill>
                  <a:srgbClr val="444444"/>
                </a:solidFill>
              </a:endParaRPr>
            </a:p>
          </p:txBody>
        </p:sp>
        <p:sp>
          <p:nvSpPr>
            <p:cNvPr id="27" name="Freeform 284"/>
            <p:cNvSpPr>
              <a:spLocks/>
            </p:cNvSpPr>
            <p:nvPr/>
          </p:nvSpPr>
          <p:spPr bwMode="auto">
            <a:xfrm>
              <a:off x="5148263" y="3123877"/>
              <a:ext cx="463550" cy="179388"/>
            </a:xfrm>
            <a:custGeom>
              <a:avLst/>
              <a:gdLst/>
              <a:ahLst/>
              <a:cxnLst>
                <a:cxn ang="0">
                  <a:pos x="34" y="20"/>
                </a:cxn>
                <a:cxn ang="0">
                  <a:pos x="36" y="21"/>
                </a:cxn>
                <a:cxn ang="0">
                  <a:pos x="47" y="20"/>
                </a:cxn>
                <a:cxn ang="0">
                  <a:pos x="52" y="19"/>
                </a:cxn>
                <a:cxn ang="0">
                  <a:pos x="57" y="18"/>
                </a:cxn>
                <a:cxn ang="0">
                  <a:pos x="59" y="19"/>
                </a:cxn>
                <a:cxn ang="0">
                  <a:pos x="58" y="16"/>
                </a:cxn>
                <a:cxn ang="0">
                  <a:pos x="58" y="9"/>
                </a:cxn>
                <a:cxn ang="0">
                  <a:pos x="59" y="8"/>
                </a:cxn>
                <a:cxn ang="0">
                  <a:pos x="55" y="3"/>
                </a:cxn>
                <a:cxn ang="0">
                  <a:pos x="53" y="1"/>
                </a:cxn>
                <a:cxn ang="0">
                  <a:pos x="50" y="1"/>
                </a:cxn>
                <a:cxn ang="0">
                  <a:pos x="49" y="0"/>
                </a:cxn>
                <a:cxn ang="0">
                  <a:pos x="49" y="0"/>
                </a:cxn>
                <a:cxn ang="0">
                  <a:pos x="45" y="3"/>
                </a:cxn>
                <a:cxn ang="0">
                  <a:pos x="40" y="3"/>
                </a:cxn>
                <a:cxn ang="0">
                  <a:pos x="39" y="3"/>
                </a:cxn>
                <a:cxn ang="0">
                  <a:pos x="39" y="3"/>
                </a:cxn>
                <a:cxn ang="0">
                  <a:pos x="35" y="1"/>
                </a:cxn>
                <a:cxn ang="0">
                  <a:pos x="32" y="0"/>
                </a:cxn>
                <a:cxn ang="0">
                  <a:pos x="24" y="0"/>
                </a:cxn>
                <a:cxn ang="0">
                  <a:pos x="22" y="0"/>
                </a:cxn>
                <a:cxn ang="0">
                  <a:pos x="19" y="1"/>
                </a:cxn>
                <a:cxn ang="0">
                  <a:pos x="17" y="3"/>
                </a:cxn>
                <a:cxn ang="0">
                  <a:pos x="12" y="4"/>
                </a:cxn>
                <a:cxn ang="0">
                  <a:pos x="11" y="3"/>
                </a:cxn>
                <a:cxn ang="0">
                  <a:pos x="10" y="3"/>
                </a:cxn>
                <a:cxn ang="0">
                  <a:pos x="8" y="6"/>
                </a:cxn>
                <a:cxn ang="0">
                  <a:pos x="4" y="6"/>
                </a:cxn>
                <a:cxn ang="0">
                  <a:pos x="0" y="9"/>
                </a:cxn>
                <a:cxn ang="0">
                  <a:pos x="2" y="12"/>
                </a:cxn>
                <a:cxn ang="0">
                  <a:pos x="4" y="17"/>
                </a:cxn>
                <a:cxn ang="0">
                  <a:pos x="6" y="20"/>
                </a:cxn>
                <a:cxn ang="0">
                  <a:pos x="15" y="21"/>
                </a:cxn>
                <a:cxn ang="0">
                  <a:pos x="16" y="21"/>
                </a:cxn>
                <a:cxn ang="0">
                  <a:pos x="23" y="23"/>
                </a:cxn>
                <a:cxn ang="0">
                  <a:pos x="27" y="21"/>
                </a:cxn>
                <a:cxn ang="0">
                  <a:pos x="31" y="23"/>
                </a:cxn>
                <a:cxn ang="0">
                  <a:pos x="31" y="23"/>
                </a:cxn>
                <a:cxn ang="0">
                  <a:pos x="31" y="23"/>
                </a:cxn>
                <a:cxn ang="0">
                  <a:pos x="34" y="20"/>
                </a:cxn>
              </a:cxnLst>
              <a:rect l="0" t="0" r="r" b="b"/>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8" name="Freeform 285"/>
            <p:cNvSpPr>
              <a:spLocks/>
            </p:cNvSpPr>
            <p:nvPr/>
          </p:nvSpPr>
          <p:spPr bwMode="auto">
            <a:xfrm>
              <a:off x="5367338" y="3273102"/>
              <a:ext cx="180975" cy="146050"/>
            </a:xfrm>
            <a:custGeom>
              <a:avLst/>
              <a:gdLst/>
              <a:ahLst/>
              <a:cxnLst>
                <a:cxn ang="0">
                  <a:pos x="25" y="114"/>
                </a:cxn>
                <a:cxn ang="0">
                  <a:pos x="61" y="96"/>
                </a:cxn>
                <a:cxn ang="0">
                  <a:pos x="73" y="90"/>
                </a:cxn>
                <a:cxn ang="0">
                  <a:pos x="115" y="66"/>
                </a:cxn>
                <a:cxn ang="0">
                  <a:pos x="127" y="24"/>
                </a:cxn>
                <a:cxn ang="0">
                  <a:pos x="139" y="6"/>
                </a:cxn>
                <a:cxn ang="0">
                  <a:pos x="139" y="0"/>
                </a:cxn>
                <a:cxn ang="0">
                  <a:pos x="115" y="6"/>
                </a:cxn>
                <a:cxn ang="0">
                  <a:pos x="49" y="12"/>
                </a:cxn>
                <a:cxn ang="0">
                  <a:pos x="37" y="6"/>
                </a:cxn>
                <a:cxn ang="0">
                  <a:pos x="19" y="24"/>
                </a:cxn>
                <a:cxn ang="0">
                  <a:pos x="19" y="24"/>
                </a:cxn>
                <a:cxn ang="0">
                  <a:pos x="25" y="48"/>
                </a:cxn>
                <a:cxn ang="0">
                  <a:pos x="0" y="102"/>
                </a:cxn>
                <a:cxn ang="0">
                  <a:pos x="13" y="102"/>
                </a:cxn>
                <a:cxn ang="0">
                  <a:pos x="25" y="114"/>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19" y="24"/>
                  </a:lnTo>
                  <a:lnTo>
                    <a:pt x="25" y="48"/>
                  </a:lnTo>
                  <a:lnTo>
                    <a:pt x="0" y="102"/>
                  </a:lnTo>
                  <a:lnTo>
                    <a:pt x="13" y="102"/>
                  </a:lnTo>
                  <a:lnTo>
                    <a:pt x="25" y="11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9" name="Freeform 286"/>
            <p:cNvSpPr>
              <a:spLocks/>
            </p:cNvSpPr>
            <p:nvPr/>
          </p:nvSpPr>
          <p:spPr bwMode="auto">
            <a:xfrm>
              <a:off x="5343525" y="3388990"/>
              <a:ext cx="127000" cy="115887"/>
            </a:xfrm>
            <a:custGeom>
              <a:avLst/>
              <a:gdLst/>
              <a:ahLst/>
              <a:cxnLst>
                <a:cxn ang="0">
                  <a:pos x="91" y="24"/>
                </a:cxn>
                <a:cxn ang="0">
                  <a:pos x="91" y="0"/>
                </a:cxn>
                <a:cxn ang="0">
                  <a:pos x="79" y="6"/>
                </a:cxn>
                <a:cxn ang="0">
                  <a:pos x="43" y="24"/>
                </a:cxn>
                <a:cxn ang="0">
                  <a:pos x="31" y="12"/>
                </a:cxn>
                <a:cxn ang="0">
                  <a:pos x="18" y="12"/>
                </a:cxn>
                <a:cxn ang="0">
                  <a:pos x="12" y="18"/>
                </a:cxn>
                <a:cxn ang="0">
                  <a:pos x="0" y="42"/>
                </a:cxn>
                <a:cxn ang="0">
                  <a:pos x="18" y="90"/>
                </a:cxn>
                <a:cxn ang="0">
                  <a:pos x="25" y="90"/>
                </a:cxn>
                <a:cxn ang="0">
                  <a:pos x="25" y="90"/>
                </a:cxn>
                <a:cxn ang="0">
                  <a:pos x="25" y="90"/>
                </a:cxn>
                <a:cxn ang="0">
                  <a:pos x="37" y="90"/>
                </a:cxn>
                <a:cxn ang="0">
                  <a:pos x="49" y="78"/>
                </a:cxn>
                <a:cxn ang="0">
                  <a:pos x="67" y="78"/>
                </a:cxn>
                <a:cxn ang="0">
                  <a:pos x="73" y="66"/>
                </a:cxn>
                <a:cxn ang="0">
                  <a:pos x="61" y="36"/>
                </a:cxn>
                <a:cxn ang="0">
                  <a:pos x="85" y="30"/>
                </a:cxn>
                <a:cxn ang="0">
                  <a:pos x="97" y="24"/>
                </a:cxn>
                <a:cxn ang="0">
                  <a:pos x="91" y="24"/>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25" y="90"/>
                  </a:lnTo>
                  <a:lnTo>
                    <a:pt x="25" y="90"/>
                  </a:lnTo>
                  <a:lnTo>
                    <a:pt x="37" y="90"/>
                  </a:lnTo>
                  <a:lnTo>
                    <a:pt x="49" y="78"/>
                  </a:lnTo>
                  <a:lnTo>
                    <a:pt x="67" y="78"/>
                  </a:lnTo>
                  <a:lnTo>
                    <a:pt x="73" y="66"/>
                  </a:lnTo>
                  <a:lnTo>
                    <a:pt x="61" y="36"/>
                  </a:lnTo>
                  <a:lnTo>
                    <a:pt x="85" y="30"/>
                  </a:lnTo>
                  <a:lnTo>
                    <a:pt x="97" y="24"/>
                  </a:lnTo>
                  <a:lnTo>
                    <a:pt x="91" y="2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30" name="Freeform 287"/>
            <p:cNvSpPr>
              <a:spLocks/>
            </p:cNvSpPr>
            <p:nvPr/>
          </p:nvSpPr>
          <p:spPr bwMode="auto">
            <a:xfrm>
              <a:off x="5343525" y="3388990"/>
              <a:ext cx="127000" cy="115887"/>
            </a:xfrm>
            <a:custGeom>
              <a:avLst/>
              <a:gdLst/>
              <a:ahLst/>
              <a:cxnLst>
                <a:cxn ang="0">
                  <a:pos x="91" y="24"/>
                </a:cxn>
                <a:cxn ang="0">
                  <a:pos x="91" y="0"/>
                </a:cxn>
                <a:cxn ang="0">
                  <a:pos x="79" y="6"/>
                </a:cxn>
                <a:cxn ang="0">
                  <a:pos x="43" y="24"/>
                </a:cxn>
                <a:cxn ang="0">
                  <a:pos x="31" y="12"/>
                </a:cxn>
                <a:cxn ang="0">
                  <a:pos x="18" y="12"/>
                </a:cxn>
                <a:cxn ang="0">
                  <a:pos x="12" y="18"/>
                </a:cxn>
                <a:cxn ang="0">
                  <a:pos x="0" y="42"/>
                </a:cxn>
                <a:cxn ang="0">
                  <a:pos x="18" y="90"/>
                </a:cxn>
                <a:cxn ang="0">
                  <a:pos x="25" y="90"/>
                </a:cxn>
                <a:cxn ang="0">
                  <a:pos x="25" y="90"/>
                </a:cxn>
                <a:cxn ang="0">
                  <a:pos x="25" y="90"/>
                </a:cxn>
                <a:cxn ang="0">
                  <a:pos x="37" y="90"/>
                </a:cxn>
                <a:cxn ang="0">
                  <a:pos x="49" y="78"/>
                </a:cxn>
                <a:cxn ang="0">
                  <a:pos x="67" y="78"/>
                </a:cxn>
                <a:cxn ang="0">
                  <a:pos x="73" y="66"/>
                </a:cxn>
                <a:cxn ang="0">
                  <a:pos x="61" y="36"/>
                </a:cxn>
                <a:cxn ang="0">
                  <a:pos x="85" y="30"/>
                </a:cxn>
                <a:cxn ang="0">
                  <a:pos x="97" y="24"/>
                </a:cxn>
                <a:cxn ang="0">
                  <a:pos x="91" y="24"/>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25" y="90"/>
                  </a:lnTo>
                  <a:lnTo>
                    <a:pt x="25" y="90"/>
                  </a:lnTo>
                  <a:lnTo>
                    <a:pt x="37" y="90"/>
                  </a:lnTo>
                  <a:lnTo>
                    <a:pt x="49" y="78"/>
                  </a:lnTo>
                  <a:lnTo>
                    <a:pt x="67" y="78"/>
                  </a:lnTo>
                  <a:lnTo>
                    <a:pt x="73" y="66"/>
                  </a:lnTo>
                  <a:lnTo>
                    <a:pt x="61" y="36"/>
                  </a:lnTo>
                  <a:lnTo>
                    <a:pt x="85" y="30"/>
                  </a:lnTo>
                  <a:lnTo>
                    <a:pt x="97" y="24"/>
                  </a:lnTo>
                  <a:lnTo>
                    <a:pt x="91" y="24"/>
                  </a:lnTo>
                </a:path>
              </a:pathLst>
            </a:custGeom>
            <a:grpFill/>
            <a:ln w="9525">
              <a:solidFill>
                <a:srgbClr val="0085C3"/>
              </a:solidFill>
              <a:round/>
              <a:headEnd/>
              <a:tailEnd/>
            </a:ln>
          </p:spPr>
          <p:txBody>
            <a:bodyPr/>
            <a:lstStyle/>
            <a:p>
              <a:endParaRPr lang="en-US" dirty="0">
                <a:solidFill>
                  <a:srgbClr val="444444"/>
                </a:solidFill>
              </a:endParaRPr>
            </a:p>
          </p:txBody>
        </p:sp>
        <p:sp>
          <p:nvSpPr>
            <p:cNvPr id="31" name="Freeform 288"/>
            <p:cNvSpPr>
              <a:spLocks/>
            </p:cNvSpPr>
            <p:nvPr/>
          </p:nvSpPr>
          <p:spPr bwMode="auto">
            <a:xfrm>
              <a:off x="5783263" y="3608065"/>
              <a:ext cx="119062" cy="77787"/>
            </a:xfrm>
            <a:custGeom>
              <a:avLst/>
              <a:gdLst/>
              <a:ahLst/>
              <a:cxnLst>
                <a:cxn ang="0">
                  <a:pos x="18" y="48"/>
                </a:cxn>
                <a:cxn ang="0">
                  <a:pos x="66" y="60"/>
                </a:cxn>
                <a:cxn ang="0">
                  <a:pos x="78" y="30"/>
                </a:cxn>
                <a:cxn ang="0">
                  <a:pos x="90" y="24"/>
                </a:cxn>
                <a:cxn ang="0">
                  <a:pos x="84" y="0"/>
                </a:cxn>
                <a:cxn ang="0">
                  <a:pos x="30" y="18"/>
                </a:cxn>
                <a:cxn ang="0">
                  <a:pos x="6" y="6"/>
                </a:cxn>
                <a:cxn ang="0">
                  <a:pos x="0" y="24"/>
                </a:cxn>
                <a:cxn ang="0">
                  <a:pos x="18" y="48"/>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32" name="Freeform 289"/>
            <p:cNvSpPr>
              <a:spLocks/>
            </p:cNvSpPr>
            <p:nvPr/>
          </p:nvSpPr>
          <p:spPr bwMode="auto">
            <a:xfrm>
              <a:off x="5800725" y="3638227"/>
              <a:ext cx="187325" cy="217488"/>
            </a:xfrm>
            <a:custGeom>
              <a:avLst/>
              <a:gdLst/>
              <a:ahLst/>
              <a:cxnLst>
                <a:cxn ang="0">
                  <a:pos x="9" y="6"/>
                </a:cxn>
                <a:cxn ang="0">
                  <a:pos x="10" y="6"/>
                </a:cxn>
                <a:cxn ang="0">
                  <a:pos x="9" y="13"/>
                </a:cxn>
                <a:cxn ang="0">
                  <a:pos x="4" y="17"/>
                </a:cxn>
                <a:cxn ang="0">
                  <a:pos x="0" y="18"/>
                </a:cxn>
                <a:cxn ang="0">
                  <a:pos x="1" y="21"/>
                </a:cxn>
                <a:cxn ang="0">
                  <a:pos x="4" y="28"/>
                </a:cxn>
                <a:cxn ang="0">
                  <a:pos x="11" y="23"/>
                </a:cxn>
                <a:cxn ang="0">
                  <a:pos x="17" y="15"/>
                </a:cxn>
                <a:cxn ang="0">
                  <a:pos x="20" y="11"/>
                </a:cxn>
                <a:cxn ang="0">
                  <a:pos x="24" y="7"/>
                </a:cxn>
                <a:cxn ang="0">
                  <a:pos x="16" y="1"/>
                </a:cxn>
                <a:cxn ang="0">
                  <a:pos x="13" y="0"/>
                </a:cxn>
                <a:cxn ang="0">
                  <a:pos x="13" y="0"/>
                </a:cxn>
                <a:cxn ang="0">
                  <a:pos x="11" y="1"/>
                </a:cxn>
                <a:cxn ang="0">
                  <a:pos x="9" y="6"/>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33" name="Freeform 290"/>
            <p:cNvSpPr>
              <a:spLocks/>
            </p:cNvSpPr>
            <p:nvPr/>
          </p:nvSpPr>
          <p:spPr bwMode="auto">
            <a:xfrm>
              <a:off x="5565775" y="3777927"/>
              <a:ext cx="265113" cy="165100"/>
            </a:xfrm>
            <a:custGeom>
              <a:avLst/>
              <a:gdLst/>
              <a:ahLst/>
              <a:cxnLst>
                <a:cxn ang="0">
                  <a:pos x="30" y="0"/>
                </a:cxn>
                <a:cxn ang="0">
                  <a:pos x="18" y="4"/>
                </a:cxn>
                <a:cxn ang="0">
                  <a:pos x="14" y="7"/>
                </a:cxn>
                <a:cxn ang="0">
                  <a:pos x="3" y="7"/>
                </a:cxn>
                <a:cxn ang="0">
                  <a:pos x="0" y="8"/>
                </a:cxn>
                <a:cxn ang="0">
                  <a:pos x="1" y="12"/>
                </a:cxn>
                <a:cxn ang="0">
                  <a:pos x="5" y="21"/>
                </a:cxn>
                <a:cxn ang="0">
                  <a:pos x="12" y="19"/>
                </a:cxn>
                <a:cxn ang="0">
                  <a:pos x="15" y="19"/>
                </a:cxn>
                <a:cxn ang="0">
                  <a:pos x="19" y="15"/>
                </a:cxn>
                <a:cxn ang="0">
                  <a:pos x="25" y="13"/>
                </a:cxn>
                <a:cxn ang="0">
                  <a:pos x="34" y="10"/>
                </a:cxn>
                <a:cxn ang="0">
                  <a:pos x="31" y="3"/>
                </a:cxn>
                <a:cxn ang="0">
                  <a:pos x="30" y="0"/>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34" name="Freeform 291"/>
            <p:cNvSpPr>
              <a:spLocks/>
            </p:cNvSpPr>
            <p:nvPr/>
          </p:nvSpPr>
          <p:spPr bwMode="auto">
            <a:xfrm>
              <a:off x="5378450" y="3419152"/>
              <a:ext cx="492125" cy="422275"/>
            </a:xfrm>
            <a:custGeom>
              <a:avLst/>
              <a:gdLst/>
              <a:ahLst/>
              <a:cxnLst>
                <a:cxn ang="0">
                  <a:pos x="63" y="34"/>
                </a:cxn>
                <a:cxn ang="0">
                  <a:pos x="55" y="32"/>
                </a:cxn>
                <a:cxn ang="0">
                  <a:pos x="52" y="28"/>
                </a:cxn>
                <a:cxn ang="0">
                  <a:pos x="53" y="25"/>
                </a:cxn>
                <a:cxn ang="0">
                  <a:pos x="52" y="25"/>
                </a:cxn>
                <a:cxn ang="0">
                  <a:pos x="48" y="23"/>
                </a:cxn>
                <a:cxn ang="0">
                  <a:pos x="46" y="17"/>
                </a:cxn>
                <a:cxn ang="0">
                  <a:pos x="42" y="13"/>
                </a:cxn>
                <a:cxn ang="0">
                  <a:pos x="42" y="12"/>
                </a:cxn>
                <a:cxn ang="0">
                  <a:pos x="39" y="12"/>
                </a:cxn>
                <a:cxn ang="0">
                  <a:pos x="36" y="10"/>
                </a:cxn>
                <a:cxn ang="0">
                  <a:pos x="28" y="9"/>
                </a:cxn>
                <a:cxn ang="0">
                  <a:pos x="25" y="6"/>
                </a:cxn>
                <a:cxn ang="0">
                  <a:pos x="15" y="1"/>
                </a:cxn>
                <a:cxn ang="0">
                  <a:pos x="11" y="0"/>
                </a:cxn>
                <a:cxn ang="0">
                  <a:pos x="12" y="0"/>
                </a:cxn>
                <a:cxn ang="0">
                  <a:pos x="10" y="1"/>
                </a:cxn>
                <a:cxn ang="0">
                  <a:pos x="6" y="2"/>
                </a:cxn>
                <a:cxn ang="0">
                  <a:pos x="8" y="7"/>
                </a:cxn>
                <a:cxn ang="0">
                  <a:pos x="7" y="9"/>
                </a:cxn>
                <a:cxn ang="0">
                  <a:pos x="4" y="9"/>
                </a:cxn>
                <a:cxn ang="0">
                  <a:pos x="2" y="11"/>
                </a:cxn>
                <a:cxn ang="0">
                  <a:pos x="0" y="11"/>
                </a:cxn>
                <a:cxn ang="0">
                  <a:pos x="2" y="15"/>
                </a:cxn>
                <a:cxn ang="0">
                  <a:pos x="9" y="29"/>
                </a:cxn>
                <a:cxn ang="0">
                  <a:pos x="13" y="33"/>
                </a:cxn>
                <a:cxn ang="0">
                  <a:pos x="15" y="39"/>
                </a:cxn>
                <a:cxn ang="0">
                  <a:pos x="17" y="46"/>
                </a:cxn>
                <a:cxn ang="0">
                  <a:pos x="24" y="53"/>
                </a:cxn>
                <a:cxn ang="0">
                  <a:pos x="24" y="54"/>
                </a:cxn>
                <a:cxn ang="0">
                  <a:pos x="27" y="53"/>
                </a:cxn>
                <a:cxn ang="0">
                  <a:pos x="38" y="53"/>
                </a:cxn>
                <a:cxn ang="0">
                  <a:pos x="42" y="50"/>
                </a:cxn>
                <a:cxn ang="0">
                  <a:pos x="54" y="46"/>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w="9525">
              <a:solidFill>
                <a:srgbClr val="0085C3"/>
              </a:solidFill>
              <a:round/>
              <a:headEnd/>
              <a:tailEnd/>
            </a:ln>
          </p:spPr>
          <p:txBody>
            <a:bodyPr/>
            <a:lstStyle/>
            <a:p>
              <a:endParaRPr lang="en-US" dirty="0">
                <a:solidFill>
                  <a:srgbClr val="444444"/>
                </a:solidFill>
              </a:endParaRPr>
            </a:p>
          </p:txBody>
        </p:sp>
        <p:sp>
          <p:nvSpPr>
            <p:cNvPr id="35" name="Freeform 292"/>
            <p:cNvSpPr>
              <a:spLocks/>
            </p:cNvSpPr>
            <p:nvPr/>
          </p:nvSpPr>
          <p:spPr bwMode="auto">
            <a:xfrm>
              <a:off x="5800725" y="3685852"/>
              <a:ext cx="77788" cy="92075"/>
            </a:xfrm>
            <a:custGeom>
              <a:avLst/>
              <a:gdLst/>
              <a:ahLst/>
              <a:cxnLst>
                <a:cxn ang="0">
                  <a:pos x="0" y="12"/>
                </a:cxn>
                <a:cxn ang="0">
                  <a:pos x="4" y="11"/>
                </a:cxn>
                <a:cxn ang="0">
                  <a:pos x="9" y="7"/>
                </a:cxn>
                <a:cxn ang="0">
                  <a:pos x="10" y="0"/>
                </a:cxn>
                <a:cxn ang="0">
                  <a:pos x="9" y="0"/>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9525">
              <a:solidFill>
                <a:srgbClr val="0085C3"/>
              </a:solidFill>
              <a:round/>
              <a:headEnd/>
              <a:tailEnd/>
            </a:ln>
          </p:spPr>
          <p:txBody>
            <a:bodyPr/>
            <a:lstStyle/>
            <a:p>
              <a:endParaRPr lang="en-US" dirty="0">
                <a:solidFill>
                  <a:srgbClr val="444444"/>
                </a:solidFill>
              </a:endParaRPr>
            </a:p>
          </p:txBody>
        </p:sp>
        <p:sp>
          <p:nvSpPr>
            <p:cNvPr id="36" name="Freeform 293"/>
            <p:cNvSpPr>
              <a:spLocks/>
            </p:cNvSpPr>
            <p:nvPr/>
          </p:nvSpPr>
          <p:spPr bwMode="auto">
            <a:xfrm>
              <a:off x="5462588" y="3263577"/>
              <a:ext cx="249237" cy="250825"/>
            </a:xfrm>
            <a:custGeom>
              <a:avLst/>
              <a:gdLst/>
              <a:ahLst/>
              <a:cxnLst>
                <a:cxn ang="0">
                  <a:pos x="168" y="120"/>
                </a:cxn>
                <a:cxn ang="0">
                  <a:pos x="132" y="90"/>
                </a:cxn>
                <a:cxn ang="0">
                  <a:pos x="132" y="66"/>
                </a:cxn>
                <a:cxn ang="0">
                  <a:pos x="138" y="42"/>
                </a:cxn>
                <a:cxn ang="0">
                  <a:pos x="114" y="6"/>
                </a:cxn>
                <a:cxn ang="0">
                  <a:pos x="102" y="0"/>
                </a:cxn>
                <a:cxn ang="0">
                  <a:pos x="72" y="6"/>
                </a:cxn>
                <a:cxn ang="0">
                  <a:pos x="66" y="6"/>
                </a:cxn>
                <a:cxn ang="0">
                  <a:pos x="66" y="12"/>
                </a:cxn>
                <a:cxn ang="0">
                  <a:pos x="54" y="30"/>
                </a:cxn>
                <a:cxn ang="0">
                  <a:pos x="42" y="72"/>
                </a:cxn>
                <a:cxn ang="0">
                  <a:pos x="0" y="96"/>
                </a:cxn>
                <a:cxn ang="0">
                  <a:pos x="0" y="120"/>
                </a:cxn>
                <a:cxn ang="0">
                  <a:pos x="24" y="126"/>
                </a:cxn>
                <a:cxn ang="0">
                  <a:pos x="84" y="156"/>
                </a:cxn>
                <a:cxn ang="0">
                  <a:pos x="102" y="174"/>
                </a:cxn>
                <a:cxn ang="0">
                  <a:pos x="150" y="180"/>
                </a:cxn>
                <a:cxn ang="0">
                  <a:pos x="168" y="192"/>
                </a:cxn>
                <a:cxn ang="0">
                  <a:pos x="186" y="192"/>
                </a:cxn>
                <a:cxn ang="0">
                  <a:pos x="180" y="180"/>
                </a:cxn>
                <a:cxn ang="0">
                  <a:pos x="192" y="174"/>
                </a:cxn>
                <a:cxn ang="0">
                  <a:pos x="180" y="150"/>
                </a:cxn>
                <a:cxn ang="0">
                  <a:pos x="168" y="120"/>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37" name="Freeform 294"/>
            <p:cNvSpPr>
              <a:spLocks/>
            </p:cNvSpPr>
            <p:nvPr/>
          </p:nvSpPr>
          <p:spPr bwMode="auto">
            <a:xfrm>
              <a:off x="5605463" y="3195315"/>
              <a:ext cx="469900" cy="427037"/>
            </a:xfrm>
            <a:custGeom>
              <a:avLst/>
              <a:gdLst/>
              <a:ahLst/>
              <a:cxnLst>
                <a:cxn ang="0">
                  <a:pos x="53" y="38"/>
                </a:cxn>
                <a:cxn ang="0">
                  <a:pos x="53" y="38"/>
                </a:cxn>
                <a:cxn ang="0">
                  <a:pos x="55" y="32"/>
                </a:cxn>
                <a:cxn ang="0">
                  <a:pos x="51" y="30"/>
                </a:cxn>
                <a:cxn ang="0">
                  <a:pos x="51" y="25"/>
                </a:cxn>
                <a:cxn ang="0">
                  <a:pos x="52" y="21"/>
                </a:cxn>
                <a:cxn ang="0">
                  <a:pos x="53" y="12"/>
                </a:cxn>
                <a:cxn ang="0">
                  <a:pos x="49" y="11"/>
                </a:cxn>
                <a:cxn ang="0">
                  <a:pos x="45" y="8"/>
                </a:cxn>
                <a:cxn ang="0">
                  <a:pos x="40" y="5"/>
                </a:cxn>
                <a:cxn ang="0">
                  <a:pos x="36" y="6"/>
                </a:cxn>
                <a:cxn ang="0">
                  <a:pos x="31" y="8"/>
                </a:cxn>
                <a:cxn ang="0">
                  <a:pos x="30" y="10"/>
                </a:cxn>
                <a:cxn ang="0">
                  <a:pos x="26" y="11"/>
                </a:cxn>
                <a:cxn ang="0">
                  <a:pos x="22" y="11"/>
                </a:cxn>
                <a:cxn ang="0">
                  <a:pos x="19" y="9"/>
                </a:cxn>
                <a:cxn ang="0">
                  <a:pos x="15" y="9"/>
                </a:cxn>
                <a:cxn ang="0">
                  <a:pos x="15" y="6"/>
                </a:cxn>
                <a:cxn ang="0">
                  <a:pos x="12" y="4"/>
                </a:cxn>
                <a:cxn ang="0">
                  <a:pos x="12" y="2"/>
                </a:cxn>
                <a:cxn ang="0">
                  <a:pos x="10" y="0"/>
                </a:cxn>
                <a:cxn ang="0">
                  <a:pos x="6" y="3"/>
                </a:cxn>
                <a:cxn ang="0">
                  <a:pos x="3" y="2"/>
                </a:cxn>
                <a:cxn ang="0">
                  <a:pos x="0" y="0"/>
                </a:cxn>
                <a:cxn ang="0">
                  <a:pos x="0" y="0"/>
                </a:cxn>
                <a:cxn ang="0">
                  <a:pos x="0" y="7"/>
                </a:cxn>
                <a:cxn ang="0">
                  <a:pos x="1" y="10"/>
                </a:cxn>
                <a:cxn ang="0">
                  <a:pos x="1" y="10"/>
                </a:cxn>
                <a:cxn ang="0">
                  <a:pos x="5" y="16"/>
                </a:cxn>
                <a:cxn ang="0">
                  <a:pos x="4" y="20"/>
                </a:cxn>
                <a:cxn ang="0">
                  <a:pos x="4" y="24"/>
                </a:cxn>
                <a:cxn ang="0">
                  <a:pos x="10" y="29"/>
                </a:cxn>
                <a:cxn ang="0">
                  <a:pos x="12" y="34"/>
                </a:cxn>
                <a:cxn ang="0">
                  <a:pos x="14" y="38"/>
                </a:cxn>
                <a:cxn ang="0">
                  <a:pos x="15" y="36"/>
                </a:cxn>
                <a:cxn ang="0">
                  <a:pos x="19" y="39"/>
                </a:cxn>
                <a:cxn ang="0">
                  <a:pos x="23" y="44"/>
                </a:cxn>
                <a:cxn ang="0">
                  <a:pos x="28" y="48"/>
                </a:cxn>
                <a:cxn ang="0">
                  <a:pos x="34" y="49"/>
                </a:cxn>
                <a:cxn ang="0">
                  <a:pos x="39" y="48"/>
                </a:cxn>
                <a:cxn ang="0">
                  <a:pos x="42" y="52"/>
                </a:cxn>
                <a:cxn ang="0">
                  <a:pos x="53" y="55"/>
                </a:cxn>
                <a:cxn ang="0">
                  <a:pos x="55" y="55"/>
                </a:cxn>
                <a:cxn ang="0">
                  <a:pos x="55" y="51"/>
                </a:cxn>
                <a:cxn ang="0">
                  <a:pos x="60" y="49"/>
                </a:cxn>
                <a:cxn ang="0">
                  <a:pos x="59" y="46"/>
                </a:cxn>
                <a:cxn ang="0">
                  <a:pos x="58" y="44"/>
                </a:cxn>
                <a:cxn ang="0">
                  <a:pos x="54" y="40"/>
                </a:cxn>
                <a:cxn ang="0">
                  <a:pos x="53" y="38"/>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9525">
              <a:solidFill>
                <a:srgbClr val="0085C3"/>
              </a:solidFill>
              <a:round/>
              <a:headEnd/>
              <a:tailEnd/>
            </a:ln>
          </p:spPr>
          <p:txBody>
            <a:bodyPr/>
            <a:lstStyle/>
            <a:p>
              <a:endParaRPr lang="en-US" dirty="0">
                <a:solidFill>
                  <a:srgbClr val="444444"/>
                </a:solidFill>
              </a:endParaRPr>
            </a:p>
          </p:txBody>
        </p:sp>
        <p:sp>
          <p:nvSpPr>
            <p:cNvPr id="38" name="Freeform 295"/>
            <p:cNvSpPr>
              <a:spLocks/>
            </p:cNvSpPr>
            <p:nvPr/>
          </p:nvSpPr>
          <p:spPr bwMode="auto">
            <a:xfrm>
              <a:off x="6019800" y="3281040"/>
              <a:ext cx="407988" cy="381000"/>
            </a:xfrm>
            <a:custGeom>
              <a:avLst/>
              <a:gdLst/>
              <a:ahLst/>
              <a:cxnLst>
                <a:cxn ang="0">
                  <a:pos x="28" y="47"/>
                </a:cxn>
                <a:cxn ang="0">
                  <a:pos x="32" y="45"/>
                </a:cxn>
                <a:cxn ang="0">
                  <a:pos x="29" y="41"/>
                </a:cxn>
                <a:cxn ang="0">
                  <a:pos x="27" y="37"/>
                </a:cxn>
                <a:cxn ang="0">
                  <a:pos x="30" y="34"/>
                </a:cxn>
                <a:cxn ang="0">
                  <a:pos x="34" y="34"/>
                </a:cxn>
                <a:cxn ang="0">
                  <a:pos x="40" y="25"/>
                </a:cxn>
                <a:cxn ang="0">
                  <a:pos x="42" y="21"/>
                </a:cxn>
                <a:cxn ang="0">
                  <a:pos x="44" y="16"/>
                </a:cxn>
                <a:cxn ang="0">
                  <a:pos x="41" y="14"/>
                </a:cxn>
                <a:cxn ang="0">
                  <a:pos x="41" y="9"/>
                </a:cxn>
                <a:cxn ang="0">
                  <a:pos x="52" y="7"/>
                </a:cxn>
                <a:cxn ang="0">
                  <a:pos x="51" y="6"/>
                </a:cxn>
                <a:cxn ang="0">
                  <a:pos x="47" y="1"/>
                </a:cxn>
                <a:cxn ang="0">
                  <a:pos x="44" y="0"/>
                </a:cxn>
                <a:cxn ang="0">
                  <a:pos x="37" y="1"/>
                </a:cxn>
                <a:cxn ang="0">
                  <a:pos x="32" y="3"/>
                </a:cxn>
                <a:cxn ang="0">
                  <a:pos x="32" y="6"/>
                </a:cxn>
                <a:cxn ang="0">
                  <a:pos x="30" y="11"/>
                </a:cxn>
                <a:cxn ang="0">
                  <a:pos x="28" y="12"/>
                </a:cxn>
                <a:cxn ang="0">
                  <a:pos x="28" y="14"/>
                </a:cxn>
                <a:cxn ang="0">
                  <a:pos x="27" y="15"/>
                </a:cxn>
                <a:cxn ang="0">
                  <a:pos x="26" y="19"/>
                </a:cxn>
                <a:cxn ang="0">
                  <a:pos x="20" y="21"/>
                </a:cxn>
                <a:cxn ang="0">
                  <a:pos x="17" y="23"/>
                </a:cxn>
                <a:cxn ang="0">
                  <a:pos x="14" y="28"/>
                </a:cxn>
                <a:cxn ang="0">
                  <a:pos x="8" y="28"/>
                </a:cxn>
                <a:cxn ang="0">
                  <a:pos x="4" y="27"/>
                </a:cxn>
                <a:cxn ang="0">
                  <a:pos x="0" y="27"/>
                </a:cxn>
                <a:cxn ang="0">
                  <a:pos x="1" y="29"/>
                </a:cxn>
                <a:cxn ang="0">
                  <a:pos x="5" y="33"/>
                </a:cxn>
                <a:cxn ang="0">
                  <a:pos x="6" y="35"/>
                </a:cxn>
                <a:cxn ang="0">
                  <a:pos x="7" y="38"/>
                </a:cxn>
                <a:cxn ang="0">
                  <a:pos x="2" y="40"/>
                </a:cxn>
                <a:cxn ang="0">
                  <a:pos x="2" y="44"/>
                </a:cxn>
                <a:cxn ang="0">
                  <a:pos x="7" y="43"/>
                </a:cxn>
                <a:cxn ang="0">
                  <a:pos x="18" y="43"/>
                </a:cxn>
                <a:cxn ang="0">
                  <a:pos x="22" y="49"/>
                </a:cxn>
                <a:cxn ang="0">
                  <a:pos x="24" y="48"/>
                </a:cxn>
                <a:cxn ang="0">
                  <a:pos x="28" y="47"/>
                </a:cxn>
              </a:cxnLst>
              <a:rect l="0" t="0" r="r" b="b"/>
              <a:pathLst>
                <a:path w="52" h="49">
                  <a:moveTo>
                    <a:pt x="28" y="47"/>
                  </a:moveTo>
                  <a:cubicBezTo>
                    <a:pt x="32" y="45"/>
                    <a:pt x="32" y="45"/>
                    <a:pt x="32" y="45"/>
                  </a:cubicBezTo>
                  <a:cubicBezTo>
                    <a:pt x="29" y="41"/>
                    <a:pt x="29" y="41"/>
                    <a:pt x="29" y="41"/>
                  </a:cubicBezTo>
                  <a:cubicBezTo>
                    <a:pt x="27" y="37"/>
                    <a:pt x="27" y="37"/>
                    <a:pt x="27" y="37"/>
                  </a:cubicBezTo>
                  <a:cubicBezTo>
                    <a:pt x="30" y="34"/>
                    <a:pt x="30" y="34"/>
                    <a:pt x="30" y="34"/>
                  </a:cubicBezTo>
                  <a:cubicBezTo>
                    <a:pt x="34" y="34"/>
                    <a:pt x="34" y="34"/>
                    <a:pt x="34" y="34"/>
                  </a:cubicBezTo>
                  <a:cubicBezTo>
                    <a:pt x="40" y="25"/>
                    <a:pt x="40" y="25"/>
                    <a:pt x="40" y="25"/>
                  </a:cubicBezTo>
                  <a:cubicBezTo>
                    <a:pt x="42" y="21"/>
                    <a:pt x="42" y="21"/>
                    <a:pt x="42" y="21"/>
                  </a:cubicBezTo>
                  <a:cubicBezTo>
                    <a:pt x="44" y="16"/>
                    <a:pt x="44" y="16"/>
                    <a:pt x="44" y="16"/>
                  </a:cubicBezTo>
                  <a:cubicBezTo>
                    <a:pt x="41" y="14"/>
                    <a:pt x="41" y="14"/>
                    <a:pt x="41" y="14"/>
                  </a:cubicBezTo>
                  <a:cubicBezTo>
                    <a:pt x="41" y="9"/>
                    <a:pt x="41" y="9"/>
                    <a:pt x="41" y="9"/>
                  </a:cubicBezTo>
                  <a:cubicBezTo>
                    <a:pt x="52" y="7"/>
                    <a:pt x="52" y="7"/>
                    <a:pt x="52" y="7"/>
                  </a:cubicBezTo>
                  <a:cubicBezTo>
                    <a:pt x="51" y="6"/>
                    <a:pt x="51" y="6"/>
                    <a:pt x="51" y="6"/>
                  </a:cubicBezTo>
                  <a:cubicBezTo>
                    <a:pt x="47" y="1"/>
                    <a:pt x="47" y="1"/>
                    <a:pt x="47" y="1"/>
                  </a:cubicBezTo>
                  <a:cubicBezTo>
                    <a:pt x="44" y="0"/>
                    <a:pt x="44" y="0"/>
                    <a:pt x="44" y="0"/>
                  </a:cubicBezTo>
                  <a:cubicBezTo>
                    <a:pt x="37" y="1"/>
                    <a:pt x="37" y="1"/>
                    <a:pt x="37" y="1"/>
                  </a:cubicBezTo>
                  <a:cubicBezTo>
                    <a:pt x="32" y="3"/>
                    <a:pt x="32" y="3"/>
                    <a:pt x="32" y="3"/>
                  </a:cubicBezTo>
                  <a:cubicBezTo>
                    <a:pt x="32" y="6"/>
                    <a:pt x="32" y="6"/>
                    <a:pt x="32" y="6"/>
                  </a:cubicBezTo>
                  <a:cubicBezTo>
                    <a:pt x="32" y="6"/>
                    <a:pt x="31" y="11"/>
                    <a:pt x="30" y="11"/>
                  </a:cubicBezTo>
                  <a:cubicBezTo>
                    <a:pt x="30" y="11"/>
                    <a:pt x="28" y="12"/>
                    <a:pt x="28" y="12"/>
                  </a:cubicBezTo>
                  <a:cubicBezTo>
                    <a:pt x="28" y="14"/>
                    <a:pt x="28" y="14"/>
                    <a:pt x="28" y="14"/>
                  </a:cubicBezTo>
                  <a:cubicBezTo>
                    <a:pt x="27" y="15"/>
                    <a:pt x="27" y="15"/>
                    <a:pt x="27" y="15"/>
                  </a:cubicBezTo>
                  <a:cubicBezTo>
                    <a:pt x="26" y="19"/>
                    <a:pt x="26" y="19"/>
                    <a:pt x="26" y="19"/>
                  </a:cubicBezTo>
                  <a:cubicBezTo>
                    <a:pt x="26" y="19"/>
                    <a:pt x="21" y="21"/>
                    <a:pt x="20" y="21"/>
                  </a:cubicBezTo>
                  <a:cubicBezTo>
                    <a:pt x="20" y="21"/>
                    <a:pt x="17" y="23"/>
                    <a:pt x="17" y="23"/>
                  </a:cubicBezTo>
                  <a:cubicBezTo>
                    <a:pt x="14" y="28"/>
                    <a:pt x="14" y="28"/>
                    <a:pt x="14" y="28"/>
                  </a:cubicBezTo>
                  <a:cubicBezTo>
                    <a:pt x="14" y="28"/>
                    <a:pt x="9" y="28"/>
                    <a:pt x="8" y="28"/>
                  </a:cubicBezTo>
                  <a:cubicBezTo>
                    <a:pt x="7" y="28"/>
                    <a:pt x="4" y="27"/>
                    <a:pt x="4" y="27"/>
                  </a:cubicBezTo>
                  <a:cubicBezTo>
                    <a:pt x="0" y="27"/>
                    <a:pt x="0" y="27"/>
                    <a:pt x="0" y="27"/>
                  </a:cubicBezTo>
                  <a:cubicBezTo>
                    <a:pt x="1" y="29"/>
                    <a:pt x="1" y="29"/>
                    <a:pt x="1" y="29"/>
                  </a:cubicBezTo>
                  <a:cubicBezTo>
                    <a:pt x="5" y="33"/>
                    <a:pt x="5" y="33"/>
                    <a:pt x="5" y="33"/>
                  </a:cubicBezTo>
                  <a:cubicBezTo>
                    <a:pt x="6" y="35"/>
                    <a:pt x="6" y="35"/>
                    <a:pt x="6" y="35"/>
                  </a:cubicBezTo>
                  <a:cubicBezTo>
                    <a:pt x="7" y="38"/>
                    <a:pt x="7" y="38"/>
                    <a:pt x="7" y="38"/>
                  </a:cubicBezTo>
                  <a:cubicBezTo>
                    <a:pt x="2" y="40"/>
                    <a:pt x="2" y="40"/>
                    <a:pt x="2" y="40"/>
                  </a:cubicBezTo>
                  <a:cubicBezTo>
                    <a:pt x="2" y="44"/>
                    <a:pt x="2" y="44"/>
                    <a:pt x="2" y="44"/>
                  </a:cubicBezTo>
                  <a:cubicBezTo>
                    <a:pt x="7" y="43"/>
                    <a:pt x="7" y="43"/>
                    <a:pt x="7" y="43"/>
                  </a:cubicBezTo>
                  <a:cubicBezTo>
                    <a:pt x="18" y="43"/>
                    <a:pt x="18" y="43"/>
                    <a:pt x="18" y="43"/>
                  </a:cubicBezTo>
                  <a:cubicBezTo>
                    <a:pt x="22" y="49"/>
                    <a:pt x="22" y="49"/>
                    <a:pt x="22" y="49"/>
                  </a:cubicBezTo>
                  <a:cubicBezTo>
                    <a:pt x="24" y="48"/>
                    <a:pt x="24" y="48"/>
                    <a:pt x="24" y="48"/>
                  </a:cubicBezTo>
                  <a:lnTo>
                    <a:pt x="28" y="4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39" name="Freeform 296"/>
            <p:cNvSpPr>
              <a:spLocks/>
            </p:cNvSpPr>
            <p:nvPr/>
          </p:nvSpPr>
          <p:spPr bwMode="auto">
            <a:xfrm>
              <a:off x="6191250" y="3319140"/>
              <a:ext cx="723900" cy="742950"/>
            </a:xfrm>
            <a:custGeom>
              <a:avLst/>
              <a:gdLst/>
              <a:ahLst/>
              <a:cxnLst>
                <a:cxn ang="0">
                  <a:pos x="511" y="234"/>
                </a:cxn>
                <a:cxn ang="0">
                  <a:pos x="547" y="180"/>
                </a:cxn>
                <a:cxn ang="0">
                  <a:pos x="553" y="168"/>
                </a:cxn>
                <a:cxn ang="0">
                  <a:pos x="499" y="150"/>
                </a:cxn>
                <a:cxn ang="0">
                  <a:pos x="456" y="192"/>
                </a:cxn>
                <a:cxn ang="0">
                  <a:pos x="408" y="192"/>
                </a:cxn>
                <a:cxn ang="0">
                  <a:pos x="378" y="180"/>
                </a:cxn>
                <a:cxn ang="0">
                  <a:pos x="354" y="198"/>
                </a:cxn>
                <a:cxn ang="0">
                  <a:pos x="288" y="186"/>
                </a:cxn>
                <a:cxn ang="0">
                  <a:pos x="246" y="120"/>
                </a:cxn>
                <a:cxn ang="0">
                  <a:pos x="204" y="84"/>
                </a:cxn>
                <a:cxn ang="0">
                  <a:pos x="210" y="48"/>
                </a:cxn>
                <a:cxn ang="0">
                  <a:pos x="228" y="0"/>
                </a:cxn>
                <a:cxn ang="0">
                  <a:pos x="168" y="0"/>
                </a:cxn>
                <a:cxn ang="0">
                  <a:pos x="180" y="12"/>
                </a:cxn>
                <a:cxn ang="0">
                  <a:pos x="114" y="54"/>
                </a:cxn>
                <a:cxn ang="0">
                  <a:pos x="120" y="96"/>
                </a:cxn>
                <a:cxn ang="0">
                  <a:pos x="72" y="174"/>
                </a:cxn>
                <a:cxn ang="0">
                  <a:pos x="30" y="192"/>
                </a:cxn>
                <a:cxn ang="0">
                  <a:pos x="60" y="240"/>
                </a:cxn>
                <a:cxn ang="0">
                  <a:pos x="12" y="258"/>
                </a:cxn>
                <a:cxn ang="0">
                  <a:pos x="0" y="264"/>
                </a:cxn>
                <a:cxn ang="0">
                  <a:pos x="42" y="318"/>
                </a:cxn>
                <a:cxn ang="0">
                  <a:pos x="90" y="408"/>
                </a:cxn>
                <a:cxn ang="0">
                  <a:pos x="138" y="511"/>
                </a:cxn>
                <a:cxn ang="0">
                  <a:pos x="174" y="571"/>
                </a:cxn>
                <a:cxn ang="0">
                  <a:pos x="216" y="523"/>
                </a:cxn>
                <a:cxn ang="0">
                  <a:pos x="228" y="457"/>
                </a:cxn>
                <a:cxn ang="0">
                  <a:pos x="276" y="384"/>
                </a:cxn>
                <a:cxn ang="0">
                  <a:pos x="342" y="330"/>
                </a:cxn>
                <a:cxn ang="0">
                  <a:pos x="390" y="294"/>
                </a:cxn>
                <a:cxn ang="0">
                  <a:pos x="372" y="234"/>
                </a:cxn>
                <a:cxn ang="0">
                  <a:pos x="384" y="216"/>
                </a:cxn>
                <a:cxn ang="0">
                  <a:pos x="420" y="228"/>
                </a:cxn>
                <a:cxn ang="0">
                  <a:pos x="450" y="246"/>
                </a:cxn>
                <a:cxn ang="0">
                  <a:pos x="462" y="264"/>
                </a:cxn>
                <a:cxn ang="0">
                  <a:pos x="462" y="306"/>
                </a:cxn>
                <a:cxn ang="0">
                  <a:pos x="493" y="252"/>
                </a:cxn>
              </a:cxnLst>
              <a:rect l="0" t="0" r="r" b="b"/>
              <a:pathLst>
                <a:path w="553" h="571">
                  <a:moveTo>
                    <a:pt x="493" y="252"/>
                  </a:moveTo>
                  <a:lnTo>
                    <a:pt x="511" y="234"/>
                  </a:lnTo>
                  <a:lnTo>
                    <a:pt x="523" y="198"/>
                  </a:lnTo>
                  <a:lnTo>
                    <a:pt x="547" y="180"/>
                  </a:lnTo>
                  <a:lnTo>
                    <a:pt x="553" y="168"/>
                  </a:lnTo>
                  <a:lnTo>
                    <a:pt x="553" y="168"/>
                  </a:lnTo>
                  <a:lnTo>
                    <a:pt x="529" y="150"/>
                  </a:lnTo>
                  <a:lnTo>
                    <a:pt x="499" y="150"/>
                  </a:lnTo>
                  <a:lnTo>
                    <a:pt x="474" y="168"/>
                  </a:lnTo>
                  <a:lnTo>
                    <a:pt x="456" y="192"/>
                  </a:lnTo>
                  <a:lnTo>
                    <a:pt x="432" y="192"/>
                  </a:lnTo>
                  <a:lnTo>
                    <a:pt x="408" y="192"/>
                  </a:lnTo>
                  <a:lnTo>
                    <a:pt x="390" y="180"/>
                  </a:lnTo>
                  <a:lnTo>
                    <a:pt x="378" y="180"/>
                  </a:lnTo>
                  <a:lnTo>
                    <a:pt x="366" y="198"/>
                  </a:lnTo>
                  <a:lnTo>
                    <a:pt x="354" y="198"/>
                  </a:lnTo>
                  <a:lnTo>
                    <a:pt x="330" y="192"/>
                  </a:lnTo>
                  <a:lnTo>
                    <a:pt x="288" y="186"/>
                  </a:lnTo>
                  <a:lnTo>
                    <a:pt x="228" y="156"/>
                  </a:lnTo>
                  <a:lnTo>
                    <a:pt x="246" y="120"/>
                  </a:lnTo>
                  <a:lnTo>
                    <a:pt x="216" y="108"/>
                  </a:lnTo>
                  <a:lnTo>
                    <a:pt x="204" y="84"/>
                  </a:lnTo>
                  <a:lnTo>
                    <a:pt x="216" y="66"/>
                  </a:lnTo>
                  <a:lnTo>
                    <a:pt x="210" y="48"/>
                  </a:lnTo>
                  <a:lnTo>
                    <a:pt x="234" y="12"/>
                  </a:lnTo>
                  <a:lnTo>
                    <a:pt x="228" y="0"/>
                  </a:lnTo>
                  <a:lnTo>
                    <a:pt x="192" y="0"/>
                  </a:lnTo>
                  <a:lnTo>
                    <a:pt x="168" y="0"/>
                  </a:lnTo>
                  <a:lnTo>
                    <a:pt x="174" y="6"/>
                  </a:lnTo>
                  <a:lnTo>
                    <a:pt x="180" y="12"/>
                  </a:lnTo>
                  <a:lnTo>
                    <a:pt x="114" y="24"/>
                  </a:lnTo>
                  <a:lnTo>
                    <a:pt x="114" y="54"/>
                  </a:lnTo>
                  <a:lnTo>
                    <a:pt x="132" y="66"/>
                  </a:lnTo>
                  <a:lnTo>
                    <a:pt x="120" y="96"/>
                  </a:lnTo>
                  <a:lnTo>
                    <a:pt x="108" y="120"/>
                  </a:lnTo>
                  <a:lnTo>
                    <a:pt x="72" y="174"/>
                  </a:lnTo>
                  <a:lnTo>
                    <a:pt x="48" y="174"/>
                  </a:lnTo>
                  <a:lnTo>
                    <a:pt x="30" y="192"/>
                  </a:lnTo>
                  <a:lnTo>
                    <a:pt x="42" y="216"/>
                  </a:lnTo>
                  <a:lnTo>
                    <a:pt x="60" y="240"/>
                  </a:lnTo>
                  <a:lnTo>
                    <a:pt x="36" y="252"/>
                  </a:lnTo>
                  <a:lnTo>
                    <a:pt x="12" y="258"/>
                  </a:lnTo>
                  <a:lnTo>
                    <a:pt x="0" y="264"/>
                  </a:lnTo>
                  <a:lnTo>
                    <a:pt x="0" y="264"/>
                  </a:lnTo>
                  <a:lnTo>
                    <a:pt x="24" y="294"/>
                  </a:lnTo>
                  <a:lnTo>
                    <a:pt x="42" y="318"/>
                  </a:lnTo>
                  <a:lnTo>
                    <a:pt x="78" y="294"/>
                  </a:lnTo>
                  <a:lnTo>
                    <a:pt x="90" y="408"/>
                  </a:lnTo>
                  <a:lnTo>
                    <a:pt x="108" y="457"/>
                  </a:lnTo>
                  <a:lnTo>
                    <a:pt x="138" y="511"/>
                  </a:lnTo>
                  <a:lnTo>
                    <a:pt x="156" y="541"/>
                  </a:lnTo>
                  <a:lnTo>
                    <a:pt x="174" y="571"/>
                  </a:lnTo>
                  <a:lnTo>
                    <a:pt x="192" y="553"/>
                  </a:lnTo>
                  <a:lnTo>
                    <a:pt x="216" y="523"/>
                  </a:lnTo>
                  <a:lnTo>
                    <a:pt x="222" y="499"/>
                  </a:lnTo>
                  <a:lnTo>
                    <a:pt x="228" y="457"/>
                  </a:lnTo>
                  <a:lnTo>
                    <a:pt x="234" y="420"/>
                  </a:lnTo>
                  <a:lnTo>
                    <a:pt x="276" y="384"/>
                  </a:lnTo>
                  <a:lnTo>
                    <a:pt x="318" y="354"/>
                  </a:lnTo>
                  <a:lnTo>
                    <a:pt x="342" y="330"/>
                  </a:lnTo>
                  <a:lnTo>
                    <a:pt x="360" y="300"/>
                  </a:lnTo>
                  <a:lnTo>
                    <a:pt x="390" y="294"/>
                  </a:lnTo>
                  <a:lnTo>
                    <a:pt x="378" y="246"/>
                  </a:lnTo>
                  <a:lnTo>
                    <a:pt x="372" y="234"/>
                  </a:lnTo>
                  <a:lnTo>
                    <a:pt x="378" y="228"/>
                  </a:lnTo>
                  <a:lnTo>
                    <a:pt x="384" y="216"/>
                  </a:lnTo>
                  <a:lnTo>
                    <a:pt x="402" y="216"/>
                  </a:lnTo>
                  <a:lnTo>
                    <a:pt x="420" y="228"/>
                  </a:lnTo>
                  <a:lnTo>
                    <a:pt x="456" y="234"/>
                  </a:lnTo>
                  <a:lnTo>
                    <a:pt x="450" y="246"/>
                  </a:lnTo>
                  <a:lnTo>
                    <a:pt x="444" y="258"/>
                  </a:lnTo>
                  <a:lnTo>
                    <a:pt x="462" y="264"/>
                  </a:lnTo>
                  <a:lnTo>
                    <a:pt x="456" y="288"/>
                  </a:lnTo>
                  <a:lnTo>
                    <a:pt x="462" y="306"/>
                  </a:lnTo>
                  <a:lnTo>
                    <a:pt x="474" y="282"/>
                  </a:lnTo>
                  <a:lnTo>
                    <a:pt x="493" y="25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0" name="Freeform 297"/>
            <p:cNvSpPr>
              <a:spLocks/>
            </p:cNvSpPr>
            <p:nvPr/>
          </p:nvSpPr>
          <p:spPr bwMode="auto">
            <a:xfrm>
              <a:off x="6005513" y="3235002"/>
              <a:ext cx="360362" cy="263525"/>
            </a:xfrm>
            <a:custGeom>
              <a:avLst/>
              <a:gdLst/>
              <a:ahLst/>
              <a:cxnLst>
                <a:cxn ang="0">
                  <a:pos x="42" y="3"/>
                </a:cxn>
                <a:cxn ang="0">
                  <a:pos x="38" y="4"/>
                </a:cxn>
                <a:cxn ang="0">
                  <a:pos x="35" y="4"/>
                </a:cxn>
                <a:cxn ang="0">
                  <a:pos x="34" y="1"/>
                </a:cxn>
                <a:cxn ang="0">
                  <a:pos x="33" y="0"/>
                </a:cxn>
                <a:cxn ang="0">
                  <a:pos x="30" y="3"/>
                </a:cxn>
                <a:cxn ang="0">
                  <a:pos x="28" y="5"/>
                </a:cxn>
                <a:cxn ang="0">
                  <a:pos x="24" y="6"/>
                </a:cxn>
                <a:cxn ang="0">
                  <a:pos x="22" y="4"/>
                </a:cxn>
                <a:cxn ang="0">
                  <a:pos x="19" y="4"/>
                </a:cxn>
                <a:cxn ang="0">
                  <a:pos x="15" y="3"/>
                </a:cxn>
                <a:cxn ang="0">
                  <a:pos x="14" y="8"/>
                </a:cxn>
                <a:cxn ang="0">
                  <a:pos x="9" y="10"/>
                </a:cxn>
                <a:cxn ang="0">
                  <a:pos x="7" y="12"/>
                </a:cxn>
                <a:cxn ang="0">
                  <a:pos x="4" y="11"/>
                </a:cxn>
                <a:cxn ang="0">
                  <a:pos x="2" y="10"/>
                </a:cxn>
                <a:cxn ang="0">
                  <a:pos x="1" y="16"/>
                </a:cxn>
                <a:cxn ang="0">
                  <a:pos x="0" y="20"/>
                </a:cxn>
                <a:cxn ang="0">
                  <a:pos x="0" y="25"/>
                </a:cxn>
                <a:cxn ang="0">
                  <a:pos x="4" y="27"/>
                </a:cxn>
                <a:cxn ang="0">
                  <a:pos x="2" y="33"/>
                </a:cxn>
                <a:cxn ang="0">
                  <a:pos x="2" y="33"/>
                </a:cxn>
                <a:cxn ang="0">
                  <a:pos x="6" y="33"/>
                </a:cxn>
                <a:cxn ang="0">
                  <a:pos x="10" y="34"/>
                </a:cxn>
                <a:cxn ang="0">
                  <a:pos x="16" y="34"/>
                </a:cxn>
                <a:cxn ang="0">
                  <a:pos x="19" y="29"/>
                </a:cxn>
                <a:cxn ang="0">
                  <a:pos x="22" y="27"/>
                </a:cxn>
                <a:cxn ang="0">
                  <a:pos x="28" y="25"/>
                </a:cxn>
                <a:cxn ang="0">
                  <a:pos x="29" y="21"/>
                </a:cxn>
                <a:cxn ang="0">
                  <a:pos x="30" y="20"/>
                </a:cxn>
                <a:cxn ang="0">
                  <a:pos x="30" y="18"/>
                </a:cxn>
                <a:cxn ang="0">
                  <a:pos x="32" y="17"/>
                </a:cxn>
                <a:cxn ang="0">
                  <a:pos x="34" y="12"/>
                </a:cxn>
                <a:cxn ang="0">
                  <a:pos x="34" y="9"/>
                </a:cxn>
                <a:cxn ang="0">
                  <a:pos x="39" y="7"/>
                </a:cxn>
                <a:cxn ang="0">
                  <a:pos x="46" y="6"/>
                </a:cxn>
                <a:cxn ang="0">
                  <a:pos x="44" y="3"/>
                </a:cxn>
                <a:cxn ang="0">
                  <a:pos x="42" y="3"/>
                </a:cxn>
              </a:cxnLst>
              <a:rect l="0" t="0" r="r" b="b"/>
              <a:pathLst>
                <a:path w="46" h="34">
                  <a:moveTo>
                    <a:pt x="42" y="3"/>
                  </a:moveTo>
                  <a:cubicBezTo>
                    <a:pt x="38" y="4"/>
                    <a:pt x="38" y="4"/>
                    <a:pt x="38" y="4"/>
                  </a:cubicBezTo>
                  <a:cubicBezTo>
                    <a:pt x="35" y="4"/>
                    <a:pt x="35" y="4"/>
                    <a:pt x="35" y="4"/>
                  </a:cubicBezTo>
                  <a:cubicBezTo>
                    <a:pt x="34" y="1"/>
                    <a:pt x="34" y="1"/>
                    <a:pt x="34" y="1"/>
                  </a:cubicBezTo>
                  <a:cubicBezTo>
                    <a:pt x="33" y="0"/>
                    <a:pt x="33" y="0"/>
                    <a:pt x="33" y="0"/>
                  </a:cubicBezTo>
                  <a:cubicBezTo>
                    <a:pt x="30" y="3"/>
                    <a:pt x="30" y="3"/>
                    <a:pt x="30" y="3"/>
                  </a:cubicBezTo>
                  <a:cubicBezTo>
                    <a:pt x="28" y="5"/>
                    <a:pt x="28" y="5"/>
                    <a:pt x="28" y="5"/>
                  </a:cubicBezTo>
                  <a:cubicBezTo>
                    <a:pt x="24" y="6"/>
                    <a:pt x="24" y="6"/>
                    <a:pt x="24" y="6"/>
                  </a:cubicBezTo>
                  <a:cubicBezTo>
                    <a:pt x="22" y="4"/>
                    <a:pt x="22" y="4"/>
                    <a:pt x="22" y="4"/>
                  </a:cubicBezTo>
                  <a:cubicBezTo>
                    <a:pt x="19" y="4"/>
                    <a:pt x="19" y="4"/>
                    <a:pt x="19" y="4"/>
                  </a:cubicBezTo>
                  <a:cubicBezTo>
                    <a:pt x="15" y="3"/>
                    <a:pt x="15" y="3"/>
                    <a:pt x="15" y="3"/>
                  </a:cubicBezTo>
                  <a:cubicBezTo>
                    <a:pt x="14" y="8"/>
                    <a:pt x="14" y="8"/>
                    <a:pt x="14" y="8"/>
                  </a:cubicBezTo>
                  <a:cubicBezTo>
                    <a:pt x="9" y="10"/>
                    <a:pt x="9" y="10"/>
                    <a:pt x="9" y="10"/>
                  </a:cubicBezTo>
                  <a:cubicBezTo>
                    <a:pt x="7" y="12"/>
                    <a:pt x="7" y="12"/>
                    <a:pt x="7" y="12"/>
                  </a:cubicBezTo>
                  <a:cubicBezTo>
                    <a:pt x="4" y="11"/>
                    <a:pt x="4" y="11"/>
                    <a:pt x="4" y="11"/>
                  </a:cubicBezTo>
                  <a:cubicBezTo>
                    <a:pt x="2" y="10"/>
                    <a:pt x="2" y="10"/>
                    <a:pt x="2" y="10"/>
                  </a:cubicBezTo>
                  <a:cubicBezTo>
                    <a:pt x="1" y="16"/>
                    <a:pt x="1" y="16"/>
                    <a:pt x="1" y="16"/>
                  </a:cubicBezTo>
                  <a:cubicBezTo>
                    <a:pt x="0" y="20"/>
                    <a:pt x="0" y="20"/>
                    <a:pt x="0" y="20"/>
                  </a:cubicBezTo>
                  <a:cubicBezTo>
                    <a:pt x="0" y="25"/>
                    <a:pt x="0" y="25"/>
                    <a:pt x="0" y="25"/>
                  </a:cubicBezTo>
                  <a:cubicBezTo>
                    <a:pt x="4" y="27"/>
                    <a:pt x="4" y="27"/>
                    <a:pt x="4" y="27"/>
                  </a:cubicBezTo>
                  <a:cubicBezTo>
                    <a:pt x="2" y="33"/>
                    <a:pt x="2" y="33"/>
                    <a:pt x="2" y="33"/>
                  </a:cubicBezTo>
                  <a:cubicBezTo>
                    <a:pt x="2" y="33"/>
                    <a:pt x="2" y="33"/>
                    <a:pt x="2" y="33"/>
                  </a:cubicBezTo>
                  <a:cubicBezTo>
                    <a:pt x="6" y="33"/>
                    <a:pt x="6" y="33"/>
                    <a:pt x="6" y="33"/>
                  </a:cubicBezTo>
                  <a:cubicBezTo>
                    <a:pt x="6" y="33"/>
                    <a:pt x="9" y="34"/>
                    <a:pt x="10" y="34"/>
                  </a:cubicBezTo>
                  <a:cubicBezTo>
                    <a:pt x="11" y="34"/>
                    <a:pt x="16" y="34"/>
                    <a:pt x="16" y="34"/>
                  </a:cubicBezTo>
                  <a:cubicBezTo>
                    <a:pt x="19" y="29"/>
                    <a:pt x="19" y="29"/>
                    <a:pt x="19" y="29"/>
                  </a:cubicBezTo>
                  <a:cubicBezTo>
                    <a:pt x="19" y="29"/>
                    <a:pt x="22" y="27"/>
                    <a:pt x="22" y="27"/>
                  </a:cubicBezTo>
                  <a:cubicBezTo>
                    <a:pt x="23" y="27"/>
                    <a:pt x="28" y="25"/>
                    <a:pt x="28" y="25"/>
                  </a:cubicBezTo>
                  <a:cubicBezTo>
                    <a:pt x="29" y="21"/>
                    <a:pt x="29" y="21"/>
                    <a:pt x="29" y="21"/>
                  </a:cubicBezTo>
                  <a:cubicBezTo>
                    <a:pt x="30" y="20"/>
                    <a:pt x="30" y="20"/>
                    <a:pt x="30" y="20"/>
                  </a:cubicBezTo>
                  <a:cubicBezTo>
                    <a:pt x="30" y="18"/>
                    <a:pt x="30" y="18"/>
                    <a:pt x="30" y="18"/>
                  </a:cubicBezTo>
                  <a:cubicBezTo>
                    <a:pt x="30" y="18"/>
                    <a:pt x="32" y="17"/>
                    <a:pt x="32" y="17"/>
                  </a:cubicBezTo>
                  <a:cubicBezTo>
                    <a:pt x="33" y="17"/>
                    <a:pt x="34" y="12"/>
                    <a:pt x="34" y="12"/>
                  </a:cubicBezTo>
                  <a:cubicBezTo>
                    <a:pt x="34" y="9"/>
                    <a:pt x="34" y="9"/>
                    <a:pt x="34" y="9"/>
                  </a:cubicBezTo>
                  <a:cubicBezTo>
                    <a:pt x="39" y="7"/>
                    <a:pt x="39" y="7"/>
                    <a:pt x="39" y="7"/>
                  </a:cubicBezTo>
                  <a:cubicBezTo>
                    <a:pt x="46" y="6"/>
                    <a:pt x="46" y="6"/>
                    <a:pt x="46" y="6"/>
                  </a:cubicBezTo>
                  <a:cubicBezTo>
                    <a:pt x="44" y="3"/>
                    <a:pt x="44" y="3"/>
                    <a:pt x="44" y="3"/>
                  </a:cubicBezTo>
                  <a:lnTo>
                    <a:pt x="42" y="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1" name="Freeform 299"/>
            <p:cNvSpPr>
              <a:spLocks/>
            </p:cNvSpPr>
            <p:nvPr/>
          </p:nvSpPr>
          <p:spPr bwMode="auto">
            <a:xfrm>
              <a:off x="5013325" y="2569840"/>
              <a:ext cx="158750" cy="107950"/>
            </a:xfrm>
            <a:custGeom>
              <a:avLst/>
              <a:gdLst/>
              <a:ahLst/>
              <a:cxnLst>
                <a:cxn ang="0">
                  <a:pos x="19" y="4"/>
                </a:cxn>
                <a:cxn ang="0">
                  <a:pos x="17" y="2"/>
                </a:cxn>
                <a:cxn ang="0">
                  <a:pos x="15" y="0"/>
                </a:cxn>
                <a:cxn ang="0">
                  <a:pos x="13" y="1"/>
                </a:cxn>
                <a:cxn ang="0">
                  <a:pos x="9" y="0"/>
                </a:cxn>
                <a:cxn ang="0">
                  <a:pos x="5" y="0"/>
                </a:cxn>
                <a:cxn ang="0">
                  <a:pos x="1" y="1"/>
                </a:cxn>
                <a:cxn ang="0">
                  <a:pos x="1" y="5"/>
                </a:cxn>
                <a:cxn ang="0">
                  <a:pos x="0" y="6"/>
                </a:cxn>
                <a:cxn ang="0">
                  <a:pos x="2" y="6"/>
                </a:cxn>
                <a:cxn ang="0">
                  <a:pos x="4" y="7"/>
                </a:cxn>
                <a:cxn ang="0">
                  <a:pos x="6" y="8"/>
                </a:cxn>
                <a:cxn ang="0">
                  <a:pos x="7" y="10"/>
                </a:cxn>
                <a:cxn ang="0">
                  <a:pos x="6" y="12"/>
                </a:cxn>
                <a:cxn ang="0">
                  <a:pos x="7" y="12"/>
                </a:cxn>
                <a:cxn ang="0">
                  <a:pos x="9" y="14"/>
                </a:cxn>
                <a:cxn ang="0">
                  <a:pos x="11" y="13"/>
                </a:cxn>
                <a:cxn ang="0">
                  <a:pos x="13" y="12"/>
                </a:cxn>
                <a:cxn ang="0">
                  <a:pos x="16" y="12"/>
                </a:cxn>
                <a:cxn ang="0">
                  <a:pos x="16" y="9"/>
                </a:cxn>
                <a:cxn ang="0">
                  <a:pos x="18" y="7"/>
                </a:cxn>
                <a:cxn ang="0">
                  <a:pos x="20" y="4"/>
                </a:cxn>
                <a:cxn ang="0">
                  <a:pos x="19" y="4"/>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9525">
              <a:solidFill>
                <a:srgbClr val="0085C3"/>
              </a:solidFill>
              <a:round/>
              <a:headEnd/>
              <a:tailEnd/>
            </a:ln>
          </p:spPr>
          <p:txBody>
            <a:bodyPr/>
            <a:lstStyle/>
            <a:p>
              <a:endParaRPr lang="en-US" dirty="0">
                <a:solidFill>
                  <a:srgbClr val="444444"/>
                </a:solidFill>
              </a:endParaRPr>
            </a:p>
          </p:txBody>
        </p:sp>
        <p:sp>
          <p:nvSpPr>
            <p:cNvPr id="42" name="Freeform 300"/>
            <p:cNvSpPr>
              <a:spLocks/>
            </p:cNvSpPr>
            <p:nvPr/>
          </p:nvSpPr>
          <p:spPr bwMode="auto">
            <a:xfrm>
              <a:off x="5083175" y="2420615"/>
              <a:ext cx="119063" cy="101600"/>
            </a:xfrm>
            <a:custGeom>
              <a:avLst/>
              <a:gdLst/>
              <a:ahLst/>
              <a:cxnLst>
                <a:cxn ang="0">
                  <a:pos x="54" y="66"/>
                </a:cxn>
                <a:cxn ang="0">
                  <a:pos x="78" y="78"/>
                </a:cxn>
                <a:cxn ang="0">
                  <a:pos x="84" y="42"/>
                </a:cxn>
                <a:cxn ang="0">
                  <a:pos x="84" y="30"/>
                </a:cxn>
                <a:cxn ang="0">
                  <a:pos x="90" y="6"/>
                </a:cxn>
                <a:cxn ang="0">
                  <a:pos x="84" y="0"/>
                </a:cxn>
                <a:cxn ang="0">
                  <a:pos x="72" y="0"/>
                </a:cxn>
                <a:cxn ang="0">
                  <a:pos x="36" y="0"/>
                </a:cxn>
                <a:cxn ang="0">
                  <a:pos x="0" y="18"/>
                </a:cxn>
                <a:cxn ang="0">
                  <a:pos x="0" y="30"/>
                </a:cxn>
                <a:cxn ang="0">
                  <a:pos x="6" y="42"/>
                </a:cxn>
                <a:cxn ang="0">
                  <a:pos x="12" y="48"/>
                </a:cxn>
                <a:cxn ang="0">
                  <a:pos x="18" y="54"/>
                </a:cxn>
                <a:cxn ang="0">
                  <a:pos x="12" y="60"/>
                </a:cxn>
                <a:cxn ang="0">
                  <a:pos x="36" y="54"/>
                </a:cxn>
                <a:cxn ang="0">
                  <a:pos x="54" y="66"/>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3" name="Freeform 301"/>
            <p:cNvSpPr>
              <a:spLocks/>
            </p:cNvSpPr>
            <p:nvPr/>
          </p:nvSpPr>
          <p:spPr bwMode="auto">
            <a:xfrm>
              <a:off x="5078413" y="2577777"/>
              <a:ext cx="233362" cy="211138"/>
            </a:xfrm>
            <a:custGeom>
              <a:avLst/>
              <a:gdLst/>
              <a:ahLst/>
              <a:cxnLst>
                <a:cxn ang="0">
                  <a:pos x="30" y="14"/>
                </a:cxn>
                <a:cxn ang="0">
                  <a:pos x="27" y="11"/>
                </a:cxn>
                <a:cxn ang="0">
                  <a:pos x="23" y="3"/>
                </a:cxn>
                <a:cxn ang="0">
                  <a:pos x="20" y="2"/>
                </a:cxn>
                <a:cxn ang="0">
                  <a:pos x="17" y="0"/>
                </a:cxn>
                <a:cxn ang="0">
                  <a:pos x="14" y="2"/>
                </a:cxn>
                <a:cxn ang="0">
                  <a:pos x="11" y="3"/>
                </a:cxn>
                <a:cxn ang="0">
                  <a:pos x="12" y="3"/>
                </a:cxn>
                <a:cxn ang="0">
                  <a:pos x="10" y="6"/>
                </a:cxn>
                <a:cxn ang="0">
                  <a:pos x="8" y="8"/>
                </a:cxn>
                <a:cxn ang="0">
                  <a:pos x="8" y="11"/>
                </a:cxn>
                <a:cxn ang="0">
                  <a:pos x="5" y="11"/>
                </a:cxn>
                <a:cxn ang="0">
                  <a:pos x="3" y="12"/>
                </a:cxn>
                <a:cxn ang="0">
                  <a:pos x="1" y="13"/>
                </a:cxn>
                <a:cxn ang="0">
                  <a:pos x="1" y="14"/>
                </a:cxn>
                <a:cxn ang="0">
                  <a:pos x="2" y="18"/>
                </a:cxn>
                <a:cxn ang="0">
                  <a:pos x="0" y="20"/>
                </a:cxn>
                <a:cxn ang="0">
                  <a:pos x="1" y="23"/>
                </a:cxn>
                <a:cxn ang="0">
                  <a:pos x="1" y="25"/>
                </a:cxn>
                <a:cxn ang="0">
                  <a:pos x="3" y="24"/>
                </a:cxn>
                <a:cxn ang="0">
                  <a:pos x="7" y="24"/>
                </a:cxn>
                <a:cxn ang="0">
                  <a:pos x="13" y="26"/>
                </a:cxn>
                <a:cxn ang="0">
                  <a:pos x="20" y="26"/>
                </a:cxn>
                <a:cxn ang="0">
                  <a:pos x="24" y="27"/>
                </a:cxn>
                <a:cxn ang="0">
                  <a:pos x="26" y="21"/>
                </a:cxn>
                <a:cxn ang="0">
                  <a:pos x="27" y="21"/>
                </a:cxn>
                <a:cxn ang="0">
                  <a:pos x="26" y="17"/>
                </a:cxn>
                <a:cxn ang="0">
                  <a:pos x="29" y="16"/>
                </a:cxn>
                <a:cxn ang="0">
                  <a:pos x="30" y="14"/>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4" name="Freeform 302"/>
            <p:cNvSpPr>
              <a:spLocks/>
            </p:cNvSpPr>
            <p:nvPr/>
          </p:nvSpPr>
          <p:spPr bwMode="auto">
            <a:xfrm>
              <a:off x="5021263" y="2492052"/>
              <a:ext cx="190500" cy="107950"/>
            </a:xfrm>
            <a:custGeom>
              <a:avLst/>
              <a:gdLst/>
              <a:ahLst/>
              <a:cxnLst>
                <a:cxn ang="0">
                  <a:pos x="8" y="10"/>
                </a:cxn>
                <a:cxn ang="0">
                  <a:pos x="12" y="11"/>
                </a:cxn>
                <a:cxn ang="0">
                  <a:pos x="14" y="10"/>
                </a:cxn>
                <a:cxn ang="0">
                  <a:pos x="16" y="12"/>
                </a:cxn>
                <a:cxn ang="0">
                  <a:pos x="18" y="14"/>
                </a:cxn>
                <a:cxn ang="0">
                  <a:pos x="21" y="13"/>
                </a:cxn>
                <a:cxn ang="0">
                  <a:pos x="24" y="11"/>
                </a:cxn>
                <a:cxn ang="0">
                  <a:pos x="23" y="10"/>
                </a:cxn>
                <a:cxn ang="0">
                  <a:pos x="21" y="5"/>
                </a:cxn>
                <a:cxn ang="0">
                  <a:pos x="21" y="4"/>
                </a:cxn>
                <a:cxn ang="0">
                  <a:pos x="17" y="2"/>
                </a:cxn>
                <a:cxn ang="0">
                  <a:pos x="14" y="0"/>
                </a:cxn>
                <a:cxn ang="0">
                  <a:pos x="10" y="1"/>
                </a:cxn>
                <a:cxn ang="0">
                  <a:pos x="9" y="5"/>
                </a:cxn>
                <a:cxn ang="0">
                  <a:pos x="8" y="6"/>
                </a:cxn>
                <a:cxn ang="0">
                  <a:pos x="5" y="3"/>
                </a:cxn>
                <a:cxn ang="0">
                  <a:pos x="3" y="3"/>
                </a:cxn>
                <a:cxn ang="0">
                  <a:pos x="1" y="8"/>
                </a:cxn>
                <a:cxn ang="0">
                  <a:pos x="0" y="11"/>
                </a:cxn>
                <a:cxn ang="0">
                  <a:pos x="4" y="10"/>
                </a:cxn>
                <a:cxn ang="0">
                  <a:pos x="8" y="10"/>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5" name="Freeform 303"/>
            <p:cNvSpPr>
              <a:spLocks/>
            </p:cNvSpPr>
            <p:nvPr/>
          </p:nvSpPr>
          <p:spPr bwMode="auto">
            <a:xfrm>
              <a:off x="4119563" y="3943027"/>
              <a:ext cx="188912" cy="141288"/>
            </a:xfrm>
            <a:custGeom>
              <a:avLst/>
              <a:gdLst/>
              <a:ahLst/>
              <a:cxnLst>
                <a:cxn ang="0">
                  <a:pos x="9" y="10"/>
                </a:cxn>
                <a:cxn ang="0">
                  <a:pos x="13" y="10"/>
                </a:cxn>
                <a:cxn ang="0">
                  <a:pos x="15" y="13"/>
                </a:cxn>
                <a:cxn ang="0">
                  <a:pos x="16" y="14"/>
                </a:cxn>
                <a:cxn ang="0">
                  <a:pos x="18" y="15"/>
                </a:cxn>
                <a:cxn ang="0">
                  <a:pos x="20" y="18"/>
                </a:cxn>
                <a:cxn ang="0">
                  <a:pos x="22" y="17"/>
                </a:cxn>
                <a:cxn ang="0">
                  <a:pos x="24" y="16"/>
                </a:cxn>
                <a:cxn ang="0">
                  <a:pos x="24" y="12"/>
                </a:cxn>
                <a:cxn ang="0">
                  <a:pos x="24" y="8"/>
                </a:cxn>
                <a:cxn ang="0">
                  <a:pos x="23" y="8"/>
                </a:cxn>
                <a:cxn ang="0">
                  <a:pos x="21" y="3"/>
                </a:cxn>
                <a:cxn ang="0">
                  <a:pos x="20" y="1"/>
                </a:cxn>
                <a:cxn ang="0">
                  <a:pos x="16" y="2"/>
                </a:cxn>
                <a:cxn ang="0">
                  <a:pos x="12" y="2"/>
                </a:cxn>
                <a:cxn ang="0">
                  <a:pos x="12" y="1"/>
                </a:cxn>
                <a:cxn ang="0">
                  <a:pos x="7" y="0"/>
                </a:cxn>
                <a:cxn ang="0">
                  <a:pos x="5" y="0"/>
                </a:cxn>
                <a:cxn ang="0">
                  <a:pos x="5" y="1"/>
                </a:cxn>
                <a:cxn ang="0">
                  <a:pos x="5" y="4"/>
                </a:cxn>
                <a:cxn ang="0">
                  <a:pos x="3" y="4"/>
                </a:cxn>
                <a:cxn ang="0">
                  <a:pos x="0" y="6"/>
                </a:cxn>
                <a:cxn ang="0">
                  <a:pos x="1" y="6"/>
                </a:cxn>
                <a:cxn ang="0">
                  <a:pos x="6" y="13"/>
                </a:cxn>
                <a:cxn ang="0">
                  <a:pos x="8" y="12"/>
                </a:cxn>
                <a:cxn ang="0">
                  <a:pos x="9" y="10"/>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6" name="Freeform 304"/>
            <p:cNvSpPr>
              <a:spLocks/>
            </p:cNvSpPr>
            <p:nvPr/>
          </p:nvSpPr>
          <p:spPr bwMode="auto">
            <a:xfrm>
              <a:off x="4073525" y="3841427"/>
              <a:ext cx="147638" cy="111125"/>
            </a:xfrm>
            <a:custGeom>
              <a:avLst/>
              <a:gdLst/>
              <a:ahLst/>
              <a:cxnLst>
                <a:cxn ang="0">
                  <a:pos x="54" y="79"/>
                </a:cxn>
                <a:cxn ang="0">
                  <a:pos x="66" y="79"/>
                </a:cxn>
                <a:cxn ang="0">
                  <a:pos x="78" y="79"/>
                </a:cxn>
                <a:cxn ang="0">
                  <a:pos x="108" y="85"/>
                </a:cxn>
                <a:cxn ang="0">
                  <a:pos x="114" y="85"/>
                </a:cxn>
                <a:cxn ang="0">
                  <a:pos x="102" y="61"/>
                </a:cxn>
                <a:cxn ang="0">
                  <a:pos x="96" y="43"/>
                </a:cxn>
                <a:cxn ang="0">
                  <a:pos x="96" y="36"/>
                </a:cxn>
                <a:cxn ang="0">
                  <a:pos x="96" y="36"/>
                </a:cxn>
                <a:cxn ang="0">
                  <a:pos x="84" y="30"/>
                </a:cxn>
                <a:cxn ang="0">
                  <a:pos x="72" y="18"/>
                </a:cxn>
                <a:cxn ang="0">
                  <a:pos x="42" y="0"/>
                </a:cxn>
                <a:cxn ang="0">
                  <a:pos x="30" y="6"/>
                </a:cxn>
                <a:cxn ang="0">
                  <a:pos x="12" y="6"/>
                </a:cxn>
                <a:cxn ang="0">
                  <a:pos x="0" y="43"/>
                </a:cxn>
                <a:cxn ang="0">
                  <a:pos x="12" y="85"/>
                </a:cxn>
                <a:cxn ang="0">
                  <a:pos x="18" y="85"/>
                </a:cxn>
                <a:cxn ang="0">
                  <a:pos x="24" y="85"/>
                </a:cxn>
                <a:cxn ang="0">
                  <a:pos x="54" y="79"/>
                </a:cxn>
              </a:cxnLst>
              <a:rect l="0" t="0" r="r" b="b"/>
              <a:pathLst>
                <a:path w="114" h="85">
                  <a:moveTo>
                    <a:pt x="54" y="79"/>
                  </a:moveTo>
                  <a:lnTo>
                    <a:pt x="66" y="79"/>
                  </a:lnTo>
                  <a:lnTo>
                    <a:pt x="78" y="79"/>
                  </a:lnTo>
                  <a:lnTo>
                    <a:pt x="108" y="85"/>
                  </a:lnTo>
                  <a:lnTo>
                    <a:pt x="114" y="85"/>
                  </a:lnTo>
                  <a:lnTo>
                    <a:pt x="102" y="61"/>
                  </a:lnTo>
                  <a:lnTo>
                    <a:pt x="96" y="43"/>
                  </a:lnTo>
                  <a:lnTo>
                    <a:pt x="96" y="36"/>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7" name="Freeform 305"/>
            <p:cNvSpPr>
              <a:spLocks/>
            </p:cNvSpPr>
            <p:nvPr/>
          </p:nvSpPr>
          <p:spPr bwMode="auto">
            <a:xfrm>
              <a:off x="4081463" y="3569965"/>
              <a:ext cx="298450" cy="319087"/>
            </a:xfrm>
            <a:custGeom>
              <a:avLst/>
              <a:gdLst/>
              <a:ahLst/>
              <a:cxnLst>
                <a:cxn ang="0">
                  <a:pos x="6" y="35"/>
                </a:cxn>
                <a:cxn ang="0">
                  <a:pos x="11" y="38"/>
                </a:cxn>
                <a:cxn ang="0">
                  <a:pos x="13" y="40"/>
                </a:cxn>
                <a:cxn ang="0">
                  <a:pos x="15" y="41"/>
                </a:cxn>
                <a:cxn ang="0">
                  <a:pos x="15" y="41"/>
                </a:cxn>
                <a:cxn ang="0">
                  <a:pos x="18" y="38"/>
                </a:cxn>
                <a:cxn ang="0">
                  <a:pos x="20" y="40"/>
                </a:cxn>
                <a:cxn ang="0">
                  <a:pos x="21" y="39"/>
                </a:cxn>
                <a:cxn ang="0">
                  <a:pos x="35" y="39"/>
                </a:cxn>
                <a:cxn ang="0">
                  <a:pos x="38" y="37"/>
                </a:cxn>
                <a:cxn ang="0">
                  <a:pos x="36" y="36"/>
                </a:cxn>
                <a:cxn ang="0">
                  <a:pos x="33" y="7"/>
                </a:cxn>
                <a:cxn ang="0">
                  <a:pos x="36" y="7"/>
                </a:cxn>
                <a:cxn ang="0">
                  <a:pos x="27" y="0"/>
                </a:cxn>
                <a:cxn ang="0">
                  <a:pos x="27" y="3"/>
                </a:cxn>
                <a:cxn ang="0">
                  <a:pos x="17" y="3"/>
                </a:cxn>
                <a:cxn ang="0">
                  <a:pos x="16" y="11"/>
                </a:cxn>
                <a:cxn ang="0">
                  <a:pos x="14" y="13"/>
                </a:cxn>
                <a:cxn ang="0">
                  <a:pos x="13" y="20"/>
                </a:cxn>
                <a:cxn ang="0">
                  <a:pos x="1" y="19"/>
                </a:cxn>
                <a:cxn ang="0">
                  <a:pos x="0" y="20"/>
                </a:cxn>
                <a:cxn ang="0">
                  <a:pos x="3" y="26"/>
                </a:cxn>
                <a:cxn ang="0">
                  <a:pos x="3" y="33"/>
                </a:cxn>
                <a:cxn ang="0">
                  <a:pos x="1" y="36"/>
                </a:cxn>
                <a:cxn ang="0">
                  <a:pos x="4" y="36"/>
                </a:cxn>
                <a:cxn ang="0">
                  <a:pos x="6" y="35"/>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8" name="Freeform 306"/>
            <p:cNvSpPr>
              <a:spLocks/>
            </p:cNvSpPr>
            <p:nvPr/>
          </p:nvSpPr>
          <p:spPr bwMode="auto">
            <a:xfrm>
              <a:off x="5108575" y="3436615"/>
              <a:ext cx="282575" cy="273050"/>
            </a:xfrm>
            <a:custGeom>
              <a:avLst/>
              <a:gdLst/>
              <a:ahLst/>
              <a:cxnLst>
                <a:cxn ang="0">
                  <a:pos x="0" y="5"/>
                </a:cxn>
                <a:cxn ang="0">
                  <a:pos x="1" y="8"/>
                </a:cxn>
                <a:cxn ang="0">
                  <a:pos x="2" y="10"/>
                </a:cxn>
                <a:cxn ang="0">
                  <a:pos x="2" y="35"/>
                </a:cxn>
                <a:cxn ang="0">
                  <a:pos x="3" y="35"/>
                </a:cxn>
                <a:cxn ang="0">
                  <a:pos x="29" y="35"/>
                </a:cxn>
                <a:cxn ang="0">
                  <a:pos x="34" y="32"/>
                </a:cxn>
                <a:cxn ang="0">
                  <a:pos x="36" y="30"/>
                </a:cxn>
                <a:cxn ang="0">
                  <a:pos x="36" y="30"/>
                </a:cxn>
                <a:cxn ang="0">
                  <a:pos x="33" y="23"/>
                </a:cxn>
                <a:cxn ang="0">
                  <a:pos x="29" y="15"/>
                </a:cxn>
                <a:cxn ang="0">
                  <a:pos x="24" y="8"/>
                </a:cxn>
                <a:cxn ang="0">
                  <a:pos x="31" y="12"/>
                </a:cxn>
                <a:cxn ang="0">
                  <a:pos x="34" y="9"/>
                </a:cxn>
                <a:cxn ang="0">
                  <a:pos x="33" y="9"/>
                </a:cxn>
                <a:cxn ang="0">
                  <a:pos x="30" y="1"/>
                </a:cxn>
                <a:cxn ang="0">
                  <a:pos x="28" y="3"/>
                </a:cxn>
                <a:cxn ang="0">
                  <a:pos x="22" y="2"/>
                </a:cxn>
                <a:cxn ang="0">
                  <a:pos x="19" y="1"/>
                </a:cxn>
                <a:cxn ang="0">
                  <a:pos x="12" y="3"/>
                </a:cxn>
                <a:cxn ang="0">
                  <a:pos x="6" y="0"/>
                </a:cxn>
                <a:cxn ang="0">
                  <a:pos x="2" y="0"/>
                </a:cxn>
                <a:cxn ang="0">
                  <a:pos x="1" y="2"/>
                </a:cxn>
                <a:cxn ang="0">
                  <a:pos x="0" y="5"/>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49" name="Freeform 307"/>
            <p:cNvSpPr>
              <a:spLocks/>
            </p:cNvSpPr>
            <p:nvPr/>
          </p:nvSpPr>
          <p:spPr bwMode="auto">
            <a:xfrm>
              <a:off x="4722813" y="3388990"/>
              <a:ext cx="409575" cy="388937"/>
            </a:xfrm>
            <a:custGeom>
              <a:avLst/>
              <a:gdLst/>
              <a:ahLst/>
              <a:cxnLst>
                <a:cxn ang="0">
                  <a:pos x="4" y="6"/>
                </a:cxn>
                <a:cxn ang="0">
                  <a:pos x="3" y="9"/>
                </a:cxn>
                <a:cxn ang="0">
                  <a:pos x="2" y="10"/>
                </a:cxn>
                <a:cxn ang="0">
                  <a:pos x="0" y="12"/>
                </a:cxn>
                <a:cxn ang="0">
                  <a:pos x="0" y="29"/>
                </a:cxn>
                <a:cxn ang="0">
                  <a:pos x="6" y="34"/>
                </a:cxn>
                <a:cxn ang="0">
                  <a:pos x="9" y="35"/>
                </a:cxn>
                <a:cxn ang="0">
                  <a:pos x="17" y="36"/>
                </a:cxn>
                <a:cxn ang="0">
                  <a:pos x="19" y="38"/>
                </a:cxn>
                <a:cxn ang="0">
                  <a:pos x="23" y="36"/>
                </a:cxn>
                <a:cxn ang="0">
                  <a:pos x="47" y="49"/>
                </a:cxn>
                <a:cxn ang="0">
                  <a:pos x="47" y="48"/>
                </a:cxn>
                <a:cxn ang="0">
                  <a:pos x="47" y="49"/>
                </a:cxn>
                <a:cxn ang="0">
                  <a:pos x="48" y="50"/>
                </a:cxn>
                <a:cxn ang="0">
                  <a:pos x="48" y="47"/>
                </a:cxn>
                <a:cxn ang="0">
                  <a:pos x="51" y="47"/>
                </a:cxn>
                <a:cxn ang="0">
                  <a:pos x="52" y="41"/>
                </a:cxn>
                <a:cxn ang="0">
                  <a:pos x="51" y="41"/>
                </a:cxn>
                <a:cxn ang="0">
                  <a:pos x="51" y="16"/>
                </a:cxn>
                <a:cxn ang="0">
                  <a:pos x="50" y="14"/>
                </a:cxn>
                <a:cxn ang="0">
                  <a:pos x="49" y="11"/>
                </a:cxn>
                <a:cxn ang="0">
                  <a:pos x="50" y="8"/>
                </a:cxn>
                <a:cxn ang="0">
                  <a:pos x="51" y="6"/>
                </a:cxn>
                <a:cxn ang="0">
                  <a:pos x="48" y="5"/>
                </a:cxn>
                <a:cxn ang="0">
                  <a:pos x="45" y="3"/>
                </a:cxn>
                <a:cxn ang="0">
                  <a:pos x="41" y="2"/>
                </a:cxn>
                <a:cxn ang="0">
                  <a:pos x="35" y="4"/>
                </a:cxn>
                <a:cxn ang="0">
                  <a:pos x="35" y="8"/>
                </a:cxn>
                <a:cxn ang="0">
                  <a:pos x="29" y="10"/>
                </a:cxn>
                <a:cxn ang="0">
                  <a:pos x="25" y="7"/>
                </a:cxn>
                <a:cxn ang="0">
                  <a:pos x="22" y="5"/>
                </a:cxn>
                <a:cxn ang="0">
                  <a:pos x="20" y="3"/>
                </a:cxn>
                <a:cxn ang="0">
                  <a:pos x="13" y="2"/>
                </a:cxn>
                <a:cxn ang="0">
                  <a:pos x="8" y="0"/>
                </a:cxn>
                <a:cxn ang="0">
                  <a:pos x="8" y="2"/>
                </a:cxn>
                <a:cxn ang="0">
                  <a:pos x="4" y="6"/>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0" name="Freeform 308"/>
            <p:cNvSpPr>
              <a:spLocks/>
            </p:cNvSpPr>
            <p:nvPr/>
          </p:nvSpPr>
          <p:spPr bwMode="auto">
            <a:xfrm>
              <a:off x="4683125" y="3273102"/>
              <a:ext cx="103188" cy="193675"/>
            </a:xfrm>
            <a:custGeom>
              <a:avLst/>
              <a:gdLst/>
              <a:ahLst/>
              <a:cxnLst>
                <a:cxn ang="0">
                  <a:pos x="18" y="12"/>
                </a:cxn>
                <a:cxn ang="0">
                  <a:pos x="18" y="30"/>
                </a:cxn>
                <a:cxn ang="0">
                  <a:pos x="18" y="54"/>
                </a:cxn>
                <a:cxn ang="0">
                  <a:pos x="0" y="78"/>
                </a:cxn>
                <a:cxn ang="0">
                  <a:pos x="0" y="90"/>
                </a:cxn>
                <a:cxn ang="0">
                  <a:pos x="12" y="102"/>
                </a:cxn>
                <a:cxn ang="0">
                  <a:pos x="18" y="108"/>
                </a:cxn>
                <a:cxn ang="0">
                  <a:pos x="36" y="120"/>
                </a:cxn>
                <a:cxn ang="0">
                  <a:pos x="36" y="144"/>
                </a:cxn>
                <a:cxn ang="0">
                  <a:pos x="42" y="150"/>
                </a:cxn>
                <a:cxn ang="0">
                  <a:pos x="48" y="144"/>
                </a:cxn>
                <a:cxn ang="0">
                  <a:pos x="54" y="126"/>
                </a:cxn>
                <a:cxn ang="0">
                  <a:pos x="78" y="102"/>
                </a:cxn>
                <a:cxn ang="0">
                  <a:pos x="78" y="90"/>
                </a:cxn>
                <a:cxn ang="0">
                  <a:pos x="60" y="84"/>
                </a:cxn>
                <a:cxn ang="0">
                  <a:pos x="42" y="72"/>
                </a:cxn>
                <a:cxn ang="0">
                  <a:pos x="66" y="36"/>
                </a:cxn>
                <a:cxn ang="0">
                  <a:pos x="60" y="12"/>
                </a:cxn>
                <a:cxn ang="0">
                  <a:pos x="36" y="0"/>
                </a:cxn>
                <a:cxn ang="0">
                  <a:pos x="24" y="0"/>
                </a:cxn>
                <a:cxn ang="0">
                  <a:pos x="24" y="6"/>
                </a:cxn>
                <a:cxn ang="0">
                  <a:pos x="18" y="12"/>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1" name="Freeform 309"/>
            <p:cNvSpPr>
              <a:spLocks/>
            </p:cNvSpPr>
            <p:nvPr/>
          </p:nvSpPr>
          <p:spPr bwMode="auto">
            <a:xfrm>
              <a:off x="4176713" y="3319140"/>
              <a:ext cx="296862" cy="227012"/>
            </a:xfrm>
            <a:custGeom>
              <a:avLst/>
              <a:gdLst/>
              <a:ahLst/>
              <a:cxnLst>
                <a:cxn ang="0">
                  <a:pos x="90" y="156"/>
                </a:cxn>
                <a:cxn ang="0">
                  <a:pos x="114" y="138"/>
                </a:cxn>
                <a:cxn ang="0">
                  <a:pos x="144" y="120"/>
                </a:cxn>
                <a:cxn ang="0">
                  <a:pos x="180" y="108"/>
                </a:cxn>
                <a:cxn ang="0">
                  <a:pos x="186" y="96"/>
                </a:cxn>
                <a:cxn ang="0">
                  <a:pos x="192" y="84"/>
                </a:cxn>
                <a:cxn ang="0">
                  <a:pos x="216" y="78"/>
                </a:cxn>
                <a:cxn ang="0">
                  <a:pos x="228" y="72"/>
                </a:cxn>
                <a:cxn ang="0">
                  <a:pos x="222" y="42"/>
                </a:cxn>
                <a:cxn ang="0">
                  <a:pos x="216" y="12"/>
                </a:cxn>
                <a:cxn ang="0">
                  <a:pos x="210" y="12"/>
                </a:cxn>
                <a:cxn ang="0">
                  <a:pos x="186" y="12"/>
                </a:cxn>
                <a:cxn ang="0">
                  <a:pos x="168" y="12"/>
                </a:cxn>
                <a:cxn ang="0">
                  <a:pos x="144" y="0"/>
                </a:cxn>
                <a:cxn ang="0">
                  <a:pos x="120" y="36"/>
                </a:cxn>
                <a:cxn ang="0">
                  <a:pos x="96" y="60"/>
                </a:cxn>
                <a:cxn ang="0">
                  <a:pos x="72" y="90"/>
                </a:cxn>
                <a:cxn ang="0">
                  <a:pos x="66" y="138"/>
                </a:cxn>
                <a:cxn ang="0">
                  <a:pos x="12" y="162"/>
                </a:cxn>
                <a:cxn ang="0">
                  <a:pos x="0" y="174"/>
                </a:cxn>
                <a:cxn ang="0">
                  <a:pos x="84" y="174"/>
                </a:cxn>
                <a:cxn ang="0">
                  <a:pos x="90" y="156"/>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2" name="Freeform 310"/>
            <p:cNvSpPr>
              <a:spLocks/>
            </p:cNvSpPr>
            <p:nvPr/>
          </p:nvSpPr>
          <p:spPr bwMode="auto">
            <a:xfrm>
              <a:off x="4087813" y="3546152"/>
              <a:ext cx="204787" cy="177800"/>
            </a:xfrm>
            <a:custGeom>
              <a:avLst/>
              <a:gdLst/>
              <a:ahLst/>
              <a:cxnLst>
                <a:cxn ang="0">
                  <a:pos x="13" y="16"/>
                </a:cxn>
                <a:cxn ang="0">
                  <a:pos x="15" y="14"/>
                </a:cxn>
                <a:cxn ang="0">
                  <a:pos x="16" y="6"/>
                </a:cxn>
                <a:cxn ang="0">
                  <a:pos x="26" y="6"/>
                </a:cxn>
                <a:cxn ang="0">
                  <a:pos x="26" y="3"/>
                </a:cxn>
                <a:cxn ang="0">
                  <a:pos x="25" y="3"/>
                </a:cxn>
                <a:cxn ang="0">
                  <a:pos x="25" y="0"/>
                </a:cxn>
                <a:cxn ang="0">
                  <a:pos x="11" y="0"/>
                </a:cxn>
                <a:cxn ang="0">
                  <a:pos x="9" y="2"/>
                </a:cxn>
                <a:cxn ang="0">
                  <a:pos x="4" y="13"/>
                </a:cxn>
                <a:cxn ang="0">
                  <a:pos x="0" y="22"/>
                </a:cxn>
                <a:cxn ang="0">
                  <a:pos x="12" y="23"/>
                </a:cxn>
                <a:cxn ang="0">
                  <a:pos x="13" y="16"/>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9525">
              <a:solidFill>
                <a:srgbClr val="0085C3"/>
              </a:solidFill>
              <a:round/>
              <a:headEnd/>
              <a:tailEnd/>
            </a:ln>
          </p:spPr>
          <p:txBody>
            <a:bodyPr/>
            <a:lstStyle/>
            <a:p>
              <a:endParaRPr lang="en-US" dirty="0">
                <a:solidFill>
                  <a:srgbClr val="444444"/>
                </a:solidFill>
              </a:endParaRPr>
            </a:p>
          </p:txBody>
        </p:sp>
        <p:sp>
          <p:nvSpPr>
            <p:cNvPr id="53" name="Freeform 311"/>
            <p:cNvSpPr>
              <a:spLocks/>
            </p:cNvSpPr>
            <p:nvPr/>
          </p:nvSpPr>
          <p:spPr bwMode="auto">
            <a:xfrm>
              <a:off x="4097338" y="3943027"/>
              <a:ext cx="61912" cy="47625"/>
            </a:xfrm>
            <a:custGeom>
              <a:avLst/>
              <a:gdLst/>
              <a:ahLst/>
              <a:cxnLst>
                <a:cxn ang="0">
                  <a:pos x="48" y="24"/>
                </a:cxn>
                <a:cxn ang="0">
                  <a:pos x="48" y="6"/>
                </a:cxn>
                <a:cxn ang="0">
                  <a:pos x="48" y="0"/>
                </a:cxn>
                <a:cxn ang="0">
                  <a:pos x="36" y="0"/>
                </a:cxn>
                <a:cxn ang="0">
                  <a:pos x="6" y="6"/>
                </a:cxn>
                <a:cxn ang="0">
                  <a:pos x="0" y="6"/>
                </a:cxn>
                <a:cxn ang="0">
                  <a:pos x="18" y="36"/>
                </a:cxn>
                <a:cxn ang="0">
                  <a:pos x="36" y="24"/>
                </a:cxn>
                <a:cxn ang="0">
                  <a:pos x="48" y="24"/>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4" name="Freeform 312"/>
            <p:cNvSpPr>
              <a:spLocks/>
            </p:cNvSpPr>
            <p:nvPr/>
          </p:nvSpPr>
          <p:spPr bwMode="auto">
            <a:xfrm>
              <a:off x="5046663" y="3671565"/>
              <a:ext cx="406400" cy="498475"/>
            </a:xfrm>
            <a:custGeom>
              <a:avLst/>
              <a:gdLst/>
              <a:ahLst/>
              <a:cxnLst>
                <a:cxn ang="0">
                  <a:pos x="37" y="5"/>
                </a:cxn>
                <a:cxn ang="0">
                  <a:pos x="11" y="5"/>
                </a:cxn>
                <a:cxn ang="0">
                  <a:pos x="10" y="11"/>
                </a:cxn>
                <a:cxn ang="0">
                  <a:pos x="7" y="11"/>
                </a:cxn>
                <a:cxn ang="0">
                  <a:pos x="7" y="14"/>
                </a:cxn>
                <a:cxn ang="0">
                  <a:pos x="6" y="13"/>
                </a:cxn>
                <a:cxn ang="0">
                  <a:pos x="5" y="25"/>
                </a:cxn>
                <a:cxn ang="0">
                  <a:pos x="2" y="27"/>
                </a:cxn>
                <a:cxn ang="0">
                  <a:pos x="1" y="32"/>
                </a:cxn>
                <a:cxn ang="0">
                  <a:pos x="0" y="35"/>
                </a:cxn>
                <a:cxn ang="0">
                  <a:pos x="3" y="41"/>
                </a:cxn>
                <a:cxn ang="0">
                  <a:pos x="5" y="45"/>
                </a:cxn>
                <a:cxn ang="0">
                  <a:pos x="8" y="50"/>
                </a:cxn>
                <a:cxn ang="0">
                  <a:pos x="12" y="52"/>
                </a:cxn>
                <a:cxn ang="0">
                  <a:pos x="18" y="58"/>
                </a:cxn>
                <a:cxn ang="0">
                  <a:pos x="20" y="61"/>
                </a:cxn>
                <a:cxn ang="0">
                  <a:pos x="25" y="61"/>
                </a:cxn>
                <a:cxn ang="0">
                  <a:pos x="29" y="64"/>
                </a:cxn>
                <a:cxn ang="0">
                  <a:pos x="36" y="63"/>
                </a:cxn>
                <a:cxn ang="0">
                  <a:pos x="41" y="61"/>
                </a:cxn>
                <a:cxn ang="0">
                  <a:pos x="44" y="61"/>
                </a:cxn>
                <a:cxn ang="0">
                  <a:pos x="44" y="59"/>
                </a:cxn>
                <a:cxn ang="0">
                  <a:pos x="42" y="57"/>
                </a:cxn>
                <a:cxn ang="0">
                  <a:pos x="39" y="54"/>
                </a:cxn>
                <a:cxn ang="0">
                  <a:pos x="35" y="51"/>
                </a:cxn>
                <a:cxn ang="0">
                  <a:pos x="36" y="48"/>
                </a:cxn>
                <a:cxn ang="0">
                  <a:pos x="38" y="48"/>
                </a:cxn>
                <a:cxn ang="0">
                  <a:pos x="39" y="42"/>
                </a:cxn>
                <a:cxn ang="0">
                  <a:pos x="43" y="38"/>
                </a:cxn>
                <a:cxn ang="0">
                  <a:pos x="46" y="32"/>
                </a:cxn>
                <a:cxn ang="0">
                  <a:pos x="47" y="21"/>
                </a:cxn>
                <a:cxn ang="0">
                  <a:pos x="50" y="19"/>
                </a:cxn>
                <a:cxn ang="0">
                  <a:pos x="52" y="18"/>
                </a:cxn>
                <a:cxn ang="0">
                  <a:pos x="50" y="13"/>
                </a:cxn>
                <a:cxn ang="0">
                  <a:pos x="47" y="4"/>
                </a:cxn>
                <a:cxn ang="0">
                  <a:pos x="44" y="0"/>
                </a:cxn>
                <a:cxn ang="0">
                  <a:pos x="42" y="2"/>
                </a:cxn>
                <a:cxn ang="0">
                  <a:pos x="37" y="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5" name="Freeform 313"/>
            <p:cNvSpPr>
              <a:spLocks/>
            </p:cNvSpPr>
            <p:nvPr/>
          </p:nvSpPr>
          <p:spPr bwMode="auto">
            <a:xfrm>
              <a:off x="4292600" y="3998590"/>
              <a:ext cx="149225" cy="147637"/>
            </a:xfrm>
            <a:custGeom>
              <a:avLst/>
              <a:gdLst/>
              <a:ahLst/>
              <a:cxnLst>
                <a:cxn ang="0">
                  <a:pos x="17" y="10"/>
                </a:cxn>
                <a:cxn ang="0">
                  <a:pos x="19" y="6"/>
                </a:cxn>
                <a:cxn ang="0">
                  <a:pos x="17" y="2"/>
                </a:cxn>
                <a:cxn ang="0">
                  <a:pos x="12" y="3"/>
                </a:cxn>
                <a:cxn ang="0">
                  <a:pos x="10" y="1"/>
                </a:cxn>
                <a:cxn ang="0">
                  <a:pos x="8" y="1"/>
                </a:cxn>
                <a:cxn ang="0">
                  <a:pos x="6" y="0"/>
                </a:cxn>
                <a:cxn ang="0">
                  <a:pos x="5" y="0"/>
                </a:cxn>
                <a:cxn ang="0">
                  <a:pos x="3" y="0"/>
                </a:cxn>
                <a:cxn ang="0">
                  <a:pos x="1" y="1"/>
                </a:cxn>
                <a:cxn ang="0">
                  <a:pos x="2" y="1"/>
                </a:cxn>
                <a:cxn ang="0">
                  <a:pos x="2" y="5"/>
                </a:cxn>
                <a:cxn ang="0">
                  <a:pos x="2" y="9"/>
                </a:cxn>
                <a:cxn ang="0">
                  <a:pos x="0" y="10"/>
                </a:cxn>
                <a:cxn ang="0">
                  <a:pos x="1" y="11"/>
                </a:cxn>
                <a:cxn ang="0">
                  <a:pos x="1" y="14"/>
                </a:cxn>
                <a:cxn ang="0">
                  <a:pos x="4" y="16"/>
                </a:cxn>
                <a:cxn ang="0">
                  <a:pos x="4" y="19"/>
                </a:cxn>
                <a:cxn ang="0">
                  <a:pos x="8" y="19"/>
                </a:cxn>
                <a:cxn ang="0">
                  <a:pos x="15" y="16"/>
                </a:cxn>
                <a:cxn ang="0">
                  <a:pos x="18" y="16"/>
                </a:cxn>
                <a:cxn ang="0">
                  <a:pos x="17" y="13"/>
                </a:cxn>
                <a:cxn ang="0">
                  <a:pos x="17" y="10"/>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6" name="Freeform 314"/>
            <p:cNvSpPr>
              <a:spLocks/>
            </p:cNvSpPr>
            <p:nvPr/>
          </p:nvSpPr>
          <p:spPr bwMode="auto">
            <a:xfrm>
              <a:off x="4216400" y="4054152"/>
              <a:ext cx="106363" cy="92075"/>
            </a:xfrm>
            <a:custGeom>
              <a:avLst/>
              <a:gdLst/>
              <a:ahLst/>
              <a:cxnLst>
                <a:cxn ang="0">
                  <a:pos x="11" y="7"/>
                </a:cxn>
                <a:cxn ang="0">
                  <a:pos x="11" y="4"/>
                </a:cxn>
                <a:cxn ang="0">
                  <a:pos x="10" y="3"/>
                </a:cxn>
                <a:cxn ang="0">
                  <a:pos x="8" y="4"/>
                </a:cxn>
                <a:cxn ang="0">
                  <a:pos x="6" y="1"/>
                </a:cxn>
                <a:cxn ang="0">
                  <a:pos x="4" y="0"/>
                </a:cxn>
                <a:cxn ang="0">
                  <a:pos x="3" y="2"/>
                </a:cxn>
                <a:cxn ang="0">
                  <a:pos x="1" y="3"/>
                </a:cxn>
                <a:cxn ang="0">
                  <a:pos x="0" y="5"/>
                </a:cxn>
                <a:cxn ang="0">
                  <a:pos x="1" y="6"/>
                </a:cxn>
                <a:cxn ang="0">
                  <a:pos x="10" y="12"/>
                </a:cxn>
                <a:cxn ang="0">
                  <a:pos x="14" y="12"/>
                </a:cxn>
                <a:cxn ang="0">
                  <a:pos x="14" y="9"/>
                </a:cxn>
                <a:cxn ang="0">
                  <a:pos x="11" y="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9525">
              <a:solidFill>
                <a:srgbClr val="0085C3"/>
              </a:solidFill>
              <a:round/>
              <a:headEnd/>
              <a:tailEnd/>
            </a:ln>
          </p:spPr>
          <p:txBody>
            <a:bodyPr/>
            <a:lstStyle/>
            <a:p>
              <a:endParaRPr lang="en-US" dirty="0">
                <a:solidFill>
                  <a:srgbClr val="444444"/>
                </a:solidFill>
              </a:endParaRPr>
            </a:p>
          </p:txBody>
        </p:sp>
        <p:sp>
          <p:nvSpPr>
            <p:cNvPr id="57" name="Freeform 315"/>
            <p:cNvSpPr>
              <a:spLocks/>
            </p:cNvSpPr>
            <p:nvPr/>
          </p:nvSpPr>
          <p:spPr bwMode="auto">
            <a:xfrm>
              <a:off x="4167188" y="4022402"/>
              <a:ext cx="79375" cy="69850"/>
            </a:xfrm>
            <a:custGeom>
              <a:avLst/>
              <a:gdLst/>
              <a:ahLst/>
              <a:cxnLst>
                <a:cxn ang="0">
                  <a:pos x="54" y="36"/>
                </a:cxn>
                <a:cxn ang="0">
                  <a:pos x="60" y="24"/>
                </a:cxn>
                <a:cxn ang="0">
                  <a:pos x="54" y="18"/>
                </a:cxn>
                <a:cxn ang="0">
                  <a:pos x="42" y="0"/>
                </a:cxn>
                <a:cxn ang="0">
                  <a:pos x="18" y="0"/>
                </a:cxn>
                <a:cxn ang="0">
                  <a:pos x="12" y="12"/>
                </a:cxn>
                <a:cxn ang="0">
                  <a:pos x="0" y="18"/>
                </a:cxn>
                <a:cxn ang="0">
                  <a:pos x="12" y="30"/>
                </a:cxn>
                <a:cxn ang="0">
                  <a:pos x="36" y="54"/>
                </a:cxn>
                <a:cxn ang="0">
                  <a:pos x="42" y="42"/>
                </a:cxn>
                <a:cxn ang="0">
                  <a:pos x="54" y="36"/>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58" name="Rectangle 316"/>
            <p:cNvSpPr>
              <a:spLocks noChangeArrowheads="1"/>
            </p:cNvSpPr>
            <p:nvPr/>
          </p:nvSpPr>
          <p:spPr bwMode="auto">
            <a:xfrm>
              <a:off x="4283075" y="3546152"/>
              <a:ext cx="9525" cy="23813"/>
            </a:xfrm>
            <a:prstGeom prst="rect">
              <a:avLst/>
            </a:prstGeom>
            <a:grpFill/>
            <a:ln w="9525">
              <a:solidFill>
                <a:srgbClr val="0085C3"/>
              </a:solidFill>
              <a:miter lim="800000"/>
              <a:headEnd/>
              <a:tailEnd/>
            </a:ln>
          </p:spPr>
          <p:txBody>
            <a:bodyPr/>
            <a:lstStyle/>
            <a:p>
              <a:endParaRPr lang="en-US" dirty="0">
                <a:solidFill>
                  <a:srgbClr val="444444"/>
                </a:solidFill>
              </a:endParaRPr>
            </a:p>
          </p:txBody>
        </p:sp>
        <p:sp>
          <p:nvSpPr>
            <p:cNvPr id="59" name="Freeform 317"/>
            <p:cNvSpPr>
              <a:spLocks/>
            </p:cNvSpPr>
            <p:nvPr/>
          </p:nvSpPr>
          <p:spPr bwMode="auto">
            <a:xfrm>
              <a:off x="4283075" y="3273102"/>
              <a:ext cx="512763" cy="504825"/>
            </a:xfrm>
            <a:custGeom>
              <a:avLst/>
              <a:gdLst/>
              <a:ahLst/>
              <a:cxnLst>
                <a:cxn ang="0">
                  <a:pos x="60" y="270"/>
                </a:cxn>
                <a:cxn ang="0">
                  <a:pos x="216" y="378"/>
                </a:cxn>
                <a:cxn ang="0">
                  <a:pos x="228" y="390"/>
                </a:cxn>
                <a:cxn ang="0">
                  <a:pos x="246" y="390"/>
                </a:cxn>
                <a:cxn ang="0">
                  <a:pos x="282" y="372"/>
                </a:cxn>
                <a:cxn ang="0">
                  <a:pos x="390" y="300"/>
                </a:cxn>
                <a:cxn ang="0">
                  <a:pos x="384" y="300"/>
                </a:cxn>
                <a:cxn ang="0">
                  <a:pos x="366" y="276"/>
                </a:cxn>
                <a:cxn ang="0">
                  <a:pos x="354" y="270"/>
                </a:cxn>
                <a:cxn ang="0">
                  <a:pos x="342" y="246"/>
                </a:cxn>
                <a:cxn ang="0">
                  <a:pos x="348" y="234"/>
                </a:cxn>
                <a:cxn ang="0">
                  <a:pos x="348" y="174"/>
                </a:cxn>
                <a:cxn ang="0">
                  <a:pos x="342" y="162"/>
                </a:cxn>
                <a:cxn ang="0">
                  <a:pos x="348" y="150"/>
                </a:cxn>
                <a:cxn ang="0">
                  <a:pos x="342" y="144"/>
                </a:cxn>
                <a:cxn ang="0">
                  <a:pos x="342" y="120"/>
                </a:cxn>
                <a:cxn ang="0">
                  <a:pos x="324" y="108"/>
                </a:cxn>
                <a:cxn ang="0">
                  <a:pos x="318" y="102"/>
                </a:cxn>
                <a:cxn ang="0">
                  <a:pos x="306" y="90"/>
                </a:cxn>
                <a:cxn ang="0">
                  <a:pos x="306" y="78"/>
                </a:cxn>
                <a:cxn ang="0">
                  <a:pos x="324" y="54"/>
                </a:cxn>
                <a:cxn ang="0">
                  <a:pos x="324" y="30"/>
                </a:cxn>
                <a:cxn ang="0">
                  <a:pos x="324" y="12"/>
                </a:cxn>
                <a:cxn ang="0">
                  <a:pos x="330" y="6"/>
                </a:cxn>
                <a:cxn ang="0">
                  <a:pos x="330" y="0"/>
                </a:cxn>
                <a:cxn ang="0">
                  <a:pos x="318" y="6"/>
                </a:cxn>
                <a:cxn ang="0">
                  <a:pos x="288" y="12"/>
                </a:cxn>
                <a:cxn ang="0">
                  <a:pos x="222" y="12"/>
                </a:cxn>
                <a:cxn ang="0">
                  <a:pos x="162" y="30"/>
                </a:cxn>
                <a:cxn ang="0">
                  <a:pos x="132" y="48"/>
                </a:cxn>
                <a:cxn ang="0">
                  <a:pos x="138" y="78"/>
                </a:cxn>
                <a:cxn ang="0">
                  <a:pos x="144" y="108"/>
                </a:cxn>
                <a:cxn ang="0">
                  <a:pos x="132" y="114"/>
                </a:cxn>
                <a:cxn ang="0">
                  <a:pos x="108" y="120"/>
                </a:cxn>
                <a:cxn ang="0">
                  <a:pos x="102" y="132"/>
                </a:cxn>
                <a:cxn ang="0">
                  <a:pos x="96" y="144"/>
                </a:cxn>
                <a:cxn ang="0">
                  <a:pos x="60" y="156"/>
                </a:cxn>
                <a:cxn ang="0">
                  <a:pos x="30" y="174"/>
                </a:cxn>
                <a:cxn ang="0">
                  <a:pos x="6" y="192"/>
                </a:cxn>
                <a:cxn ang="0">
                  <a:pos x="0" y="210"/>
                </a:cxn>
                <a:cxn ang="0">
                  <a:pos x="6" y="210"/>
                </a:cxn>
                <a:cxn ang="0">
                  <a:pos x="6" y="228"/>
                </a:cxn>
                <a:cxn ang="0">
                  <a:pos x="60" y="270"/>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0" name="Freeform 318"/>
            <p:cNvSpPr>
              <a:spLocks/>
            </p:cNvSpPr>
            <p:nvPr/>
          </p:nvSpPr>
          <p:spPr bwMode="auto">
            <a:xfrm>
              <a:off x="4283075" y="3273102"/>
              <a:ext cx="512763" cy="504825"/>
            </a:xfrm>
            <a:custGeom>
              <a:avLst/>
              <a:gdLst/>
              <a:ahLst/>
              <a:cxnLst>
                <a:cxn ang="0">
                  <a:pos x="60" y="270"/>
                </a:cxn>
                <a:cxn ang="0">
                  <a:pos x="216" y="378"/>
                </a:cxn>
                <a:cxn ang="0">
                  <a:pos x="228" y="390"/>
                </a:cxn>
                <a:cxn ang="0">
                  <a:pos x="246" y="390"/>
                </a:cxn>
                <a:cxn ang="0">
                  <a:pos x="282" y="372"/>
                </a:cxn>
                <a:cxn ang="0">
                  <a:pos x="390" y="300"/>
                </a:cxn>
                <a:cxn ang="0">
                  <a:pos x="384" y="300"/>
                </a:cxn>
                <a:cxn ang="0">
                  <a:pos x="366" y="276"/>
                </a:cxn>
                <a:cxn ang="0">
                  <a:pos x="354" y="270"/>
                </a:cxn>
                <a:cxn ang="0">
                  <a:pos x="342" y="246"/>
                </a:cxn>
                <a:cxn ang="0">
                  <a:pos x="348" y="234"/>
                </a:cxn>
                <a:cxn ang="0">
                  <a:pos x="348" y="174"/>
                </a:cxn>
                <a:cxn ang="0">
                  <a:pos x="342" y="162"/>
                </a:cxn>
                <a:cxn ang="0">
                  <a:pos x="348" y="150"/>
                </a:cxn>
                <a:cxn ang="0">
                  <a:pos x="342" y="144"/>
                </a:cxn>
                <a:cxn ang="0">
                  <a:pos x="342" y="120"/>
                </a:cxn>
                <a:cxn ang="0">
                  <a:pos x="324" y="108"/>
                </a:cxn>
                <a:cxn ang="0">
                  <a:pos x="318" y="102"/>
                </a:cxn>
                <a:cxn ang="0">
                  <a:pos x="306" y="90"/>
                </a:cxn>
                <a:cxn ang="0">
                  <a:pos x="306" y="78"/>
                </a:cxn>
                <a:cxn ang="0">
                  <a:pos x="324" y="54"/>
                </a:cxn>
                <a:cxn ang="0">
                  <a:pos x="324" y="30"/>
                </a:cxn>
                <a:cxn ang="0">
                  <a:pos x="324" y="12"/>
                </a:cxn>
                <a:cxn ang="0">
                  <a:pos x="330" y="6"/>
                </a:cxn>
                <a:cxn ang="0">
                  <a:pos x="330" y="0"/>
                </a:cxn>
                <a:cxn ang="0">
                  <a:pos x="318" y="6"/>
                </a:cxn>
                <a:cxn ang="0">
                  <a:pos x="288" y="12"/>
                </a:cxn>
                <a:cxn ang="0">
                  <a:pos x="222" y="12"/>
                </a:cxn>
                <a:cxn ang="0">
                  <a:pos x="162" y="30"/>
                </a:cxn>
                <a:cxn ang="0">
                  <a:pos x="132" y="48"/>
                </a:cxn>
                <a:cxn ang="0">
                  <a:pos x="138" y="78"/>
                </a:cxn>
                <a:cxn ang="0">
                  <a:pos x="144" y="108"/>
                </a:cxn>
                <a:cxn ang="0">
                  <a:pos x="132" y="114"/>
                </a:cxn>
                <a:cxn ang="0">
                  <a:pos x="108" y="120"/>
                </a:cxn>
                <a:cxn ang="0">
                  <a:pos x="102" y="132"/>
                </a:cxn>
                <a:cxn ang="0">
                  <a:pos x="96" y="144"/>
                </a:cxn>
                <a:cxn ang="0">
                  <a:pos x="60" y="156"/>
                </a:cxn>
                <a:cxn ang="0">
                  <a:pos x="30" y="174"/>
                </a:cxn>
                <a:cxn ang="0">
                  <a:pos x="6" y="192"/>
                </a:cxn>
                <a:cxn ang="0">
                  <a:pos x="0" y="210"/>
                </a:cxn>
                <a:cxn ang="0">
                  <a:pos x="6" y="210"/>
                </a:cxn>
                <a:cxn ang="0">
                  <a:pos x="6" y="228"/>
                </a:cxn>
                <a:cxn ang="0">
                  <a:pos x="60" y="270"/>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9525">
              <a:solidFill>
                <a:srgbClr val="0085C3"/>
              </a:solidFill>
              <a:round/>
              <a:headEnd/>
              <a:tailEnd/>
            </a:ln>
          </p:spPr>
          <p:txBody>
            <a:bodyPr/>
            <a:lstStyle/>
            <a:p>
              <a:endParaRPr lang="en-US" dirty="0">
                <a:solidFill>
                  <a:srgbClr val="444444"/>
                </a:solidFill>
              </a:endParaRPr>
            </a:p>
          </p:txBody>
        </p:sp>
        <p:sp>
          <p:nvSpPr>
            <p:cNvPr id="61" name="Freeform 319"/>
            <p:cNvSpPr>
              <a:spLocks/>
            </p:cNvSpPr>
            <p:nvPr/>
          </p:nvSpPr>
          <p:spPr bwMode="auto">
            <a:xfrm>
              <a:off x="4322763" y="3235002"/>
              <a:ext cx="9525" cy="4763"/>
            </a:xfrm>
            <a:custGeom>
              <a:avLst/>
              <a:gdLst/>
              <a:ahLst/>
              <a:cxnLst>
                <a:cxn ang="0">
                  <a:pos x="6" y="0"/>
                </a:cxn>
                <a:cxn ang="0">
                  <a:pos x="0" y="0"/>
                </a:cxn>
                <a:cxn ang="0">
                  <a:pos x="0" y="6"/>
                </a:cxn>
                <a:cxn ang="0">
                  <a:pos x="6" y="0"/>
                </a:cxn>
              </a:cxnLst>
              <a:rect l="0" t="0" r="r" b="b"/>
              <a:pathLst>
                <a:path w="6" h="6">
                  <a:moveTo>
                    <a:pt x="6" y="0"/>
                  </a:moveTo>
                  <a:lnTo>
                    <a:pt x="0" y="0"/>
                  </a:lnTo>
                  <a:lnTo>
                    <a:pt x="0" y="6"/>
                  </a:lnTo>
                  <a:lnTo>
                    <a:pt x="6"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2" name="Freeform 320"/>
            <p:cNvSpPr>
              <a:spLocks/>
            </p:cNvSpPr>
            <p:nvPr/>
          </p:nvSpPr>
          <p:spPr bwMode="auto">
            <a:xfrm>
              <a:off x="4340225" y="3123877"/>
              <a:ext cx="7938" cy="7938"/>
            </a:xfrm>
            <a:custGeom>
              <a:avLst/>
              <a:gdLst/>
              <a:ahLst/>
              <a:cxnLst>
                <a:cxn ang="0">
                  <a:pos x="0" y="0"/>
                </a:cxn>
                <a:cxn ang="0">
                  <a:pos x="0" y="0"/>
                </a:cxn>
                <a:cxn ang="0">
                  <a:pos x="6" y="6"/>
                </a:cxn>
                <a:cxn ang="0">
                  <a:pos x="0" y="0"/>
                </a:cxn>
              </a:cxnLst>
              <a:rect l="0" t="0" r="r" b="b"/>
              <a:pathLst>
                <a:path w="6" h="6">
                  <a:moveTo>
                    <a:pt x="0" y="0"/>
                  </a:moveTo>
                  <a:lnTo>
                    <a:pt x="0" y="0"/>
                  </a:lnTo>
                  <a:lnTo>
                    <a:pt x="6" y="6"/>
                  </a:lnTo>
                  <a:lnTo>
                    <a:pt x="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3" name="Freeform 321"/>
            <p:cNvSpPr>
              <a:spLocks/>
            </p:cNvSpPr>
            <p:nvPr/>
          </p:nvSpPr>
          <p:spPr bwMode="auto">
            <a:xfrm>
              <a:off x="4268788" y="3058790"/>
              <a:ext cx="307975" cy="236537"/>
            </a:xfrm>
            <a:custGeom>
              <a:avLst/>
              <a:gdLst/>
              <a:ahLst/>
              <a:cxnLst>
                <a:cxn ang="0">
                  <a:pos x="34" y="5"/>
                </a:cxn>
                <a:cxn ang="0">
                  <a:pos x="32" y="5"/>
                </a:cxn>
                <a:cxn ang="0">
                  <a:pos x="29" y="4"/>
                </a:cxn>
                <a:cxn ang="0">
                  <a:pos x="27" y="4"/>
                </a:cxn>
                <a:cxn ang="0">
                  <a:pos x="26" y="4"/>
                </a:cxn>
                <a:cxn ang="0">
                  <a:pos x="25" y="2"/>
                </a:cxn>
                <a:cxn ang="0">
                  <a:pos x="13" y="0"/>
                </a:cxn>
                <a:cxn ang="0">
                  <a:pos x="7" y="1"/>
                </a:cxn>
                <a:cxn ang="0">
                  <a:pos x="5" y="0"/>
                </a:cxn>
                <a:cxn ang="0">
                  <a:pos x="3" y="1"/>
                </a:cxn>
                <a:cxn ang="0">
                  <a:pos x="0" y="3"/>
                </a:cxn>
                <a:cxn ang="0">
                  <a:pos x="2" y="8"/>
                </a:cxn>
                <a:cxn ang="0">
                  <a:pos x="4" y="6"/>
                </a:cxn>
                <a:cxn ang="0">
                  <a:pos x="8" y="7"/>
                </a:cxn>
                <a:cxn ang="0">
                  <a:pos x="9" y="8"/>
                </a:cxn>
                <a:cxn ang="0">
                  <a:pos x="9" y="8"/>
                </a:cxn>
                <a:cxn ang="0">
                  <a:pos x="10" y="9"/>
                </a:cxn>
                <a:cxn ang="0">
                  <a:pos x="9" y="12"/>
                </a:cxn>
                <a:cxn ang="0">
                  <a:pos x="8" y="17"/>
                </a:cxn>
                <a:cxn ang="0">
                  <a:pos x="7" y="20"/>
                </a:cxn>
                <a:cxn ang="0">
                  <a:pos x="7" y="22"/>
                </a:cxn>
                <a:cxn ang="0">
                  <a:pos x="8" y="22"/>
                </a:cxn>
                <a:cxn ang="0">
                  <a:pos x="7" y="23"/>
                </a:cxn>
                <a:cxn ang="0">
                  <a:pos x="7" y="24"/>
                </a:cxn>
                <a:cxn ang="0">
                  <a:pos x="6" y="27"/>
                </a:cxn>
                <a:cxn ang="0">
                  <a:pos x="8" y="27"/>
                </a:cxn>
                <a:cxn ang="0">
                  <a:pos x="12" y="30"/>
                </a:cxn>
                <a:cxn ang="0">
                  <a:pos x="18" y="28"/>
                </a:cxn>
                <a:cxn ang="0">
                  <a:pos x="24" y="27"/>
                </a:cxn>
                <a:cxn ang="0">
                  <a:pos x="27" y="23"/>
                </a:cxn>
                <a:cxn ang="0">
                  <a:pos x="30" y="19"/>
                </a:cxn>
                <a:cxn ang="0">
                  <a:pos x="30" y="17"/>
                </a:cxn>
                <a:cxn ang="0">
                  <a:pos x="33" y="11"/>
                </a:cxn>
                <a:cxn ang="0">
                  <a:pos x="39" y="7"/>
                </a:cxn>
                <a:cxn ang="0">
                  <a:pos x="39" y="6"/>
                </a:cxn>
                <a:cxn ang="0">
                  <a:pos x="37" y="6"/>
                </a:cxn>
                <a:cxn ang="0">
                  <a:pos x="34" y="5"/>
                </a:cxn>
              </a:cxnLst>
              <a:rect l="0" t="0" r="r" b="b"/>
              <a:pathLst>
                <a:path w="39" h="30">
                  <a:moveTo>
                    <a:pt x="34" y="5"/>
                  </a:moveTo>
                  <a:cubicBezTo>
                    <a:pt x="34" y="5"/>
                    <a:pt x="33" y="5"/>
                    <a:pt x="32" y="5"/>
                  </a:cubicBezTo>
                  <a:cubicBezTo>
                    <a:pt x="32" y="5"/>
                    <a:pt x="29" y="4"/>
                    <a:pt x="29" y="4"/>
                  </a:cubicBezTo>
                  <a:cubicBezTo>
                    <a:pt x="27" y="4"/>
                    <a:pt x="27" y="4"/>
                    <a:pt x="27" y="4"/>
                  </a:cubicBezTo>
                  <a:cubicBezTo>
                    <a:pt x="26" y="4"/>
                    <a:pt x="26" y="4"/>
                    <a:pt x="26" y="4"/>
                  </a:cubicBezTo>
                  <a:cubicBezTo>
                    <a:pt x="25" y="2"/>
                    <a:pt x="25" y="2"/>
                    <a:pt x="25" y="2"/>
                  </a:cubicBezTo>
                  <a:cubicBezTo>
                    <a:pt x="13" y="0"/>
                    <a:pt x="13" y="0"/>
                    <a:pt x="13" y="0"/>
                  </a:cubicBezTo>
                  <a:cubicBezTo>
                    <a:pt x="7" y="1"/>
                    <a:pt x="7" y="1"/>
                    <a:pt x="7" y="1"/>
                  </a:cubicBezTo>
                  <a:cubicBezTo>
                    <a:pt x="5" y="0"/>
                    <a:pt x="5" y="0"/>
                    <a:pt x="5" y="0"/>
                  </a:cubicBezTo>
                  <a:cubicBezTo>
                    <a:pt x="3" y="1"/>
                    <a:pt x="3" y="1"/>
                    <a:pt x="3" y="1"/>
                  </a:cubicBezTo>
                  <a:cubicBezTo>
                    <a:pt x="3" y="1"/>
                    <a:pt x="1" y="3"/>
                    <a:pt x="0" y="3"/>
                  </a:cubicBezTo>
                  <a:cubicBezTo>
                    <a:pt x="2" y="8"/>
                    <a:pt x="2" y="8"/>
                    <a:pt x="2" y="8"/>
                  </a:cubicBezTo>
                  <a:cubicBezTo>
                    <a:pt x="4" y="6"/>
                    <a:pt x="4" y="6"/>
                    <a:pt x="4" y="6"/>
                  </a:cubicBezTo>
                  <a:cubicBezTo>
                    <a:pt x="8" y="7"/>
                    <a:pt x="8" y="7"/>
                    <a:pt x="8" y="7"/>
                  </a:cubicBezTo>
                  <a:cubicBezTo>
                    <a:pt x="9" y="8"/>
                    <a:pt x="9" y="8"/>
                    <a:pt x="9" y="8"/>
                  </a:cubicBezTo>
                  <a:cubicBezTo>
                    <a:pt x="9" y="8"/>
                    <a:pt x="9" y="8"/>
                    <a:pt x="9" y="8"/>
                  </a:cubicBezTo>
                  <a:cubicBezTo>
                    <a:pt x="10" y="9"/>
                    <a:pt x="10" y="9"/>
                    <a:pt x="10" y="9"/>
                  </a:cubicBezTo>
                  <a:cubicBezTo>
                    <a:pt x="9" y="12"/>
                    <a:pt x="9" y="12"/>
                    <a:pt x="9" y="12"/>
                  </a:cubicBezTo>
                  <a:cubicBezTo>
                    <a:pt x="8" y="17"/>
                    <a:pt x="8" y="17"/>
                    <a:pt x="8" y="17"/>
                  </a:cubicBezTo>
                  <a:cubicBezTo>
                    <a:pt x="7" y="20"/>
                    <a:pt x="7" y="20"/>
                    <a:pt x="7" y="20"/>
                  </a:cubicBezTo>
                  <a:cubicBezTo>
                    <a:pt x="7" y="22"/>
                    <a:pt x="7" y="22"/>
                    <a:pt x="7" y="22"/>
                  </a:cubicBezTo>
                  <a:cubicBezTo>
                    <a:pt x="8" y="22"/>
                    <a:pt x="8" y="22"/>
                    <a:pt x="8" y="22"/>
                  </a:cubicBezTo>
                  <a:cubicBezTo>
                    <a:pt x="7" y="23"/>
                    <a:pt x="7" y="23"/>
                    <a:pt x="7" y="23"/>
                  </a:cubicBezTo>
                  <a:cubicBezTo>
                    <a:pt x="7" y="24"/>
                    <a:pt x="7" y="24"/>
                    <a:pt x="7" y="24"/>
                  </a:cubicBezTo>
                  <a:cubicBezTo>
                    <a:pt x="6" y="27"/>
                    <a:pt x="6" y="27"/>
                    <a:pt x="6" y="27"/>
                  </a:cubicBezTo>
                  <a:cubicBezTo>
                    <a:pt x="8" y="27"/>
                    <a:pt x="8" y="27"/>
                    <a:pt x="8" y="27"/>
                  </a:cubicBezTo>
                  <a:cubicBezTo>
                    <a:pt x="12" y="30"/>
                    <a:pt x="12" y="30"/>
                    <a:pt x="12" y="30"/>
                  </a:cubicBezTo>
                  <a:cubicBezTo>
                    <a:pt x="18" y="28"/>
                    <a:pt x="18" y="28"/>
                    <a:pt x="18" y="28"/>
                  </a:cubicBezTo>
                  <a:cubicBezTo>
                    <a:pt x="24" y="27"/>
                    <a:pt x="24" y="27"/>
                    <a:pt x="24" y="27"/>
                  </a:cubicBezTo>
                  <a:cubicBezTo>
                    <a:pt x="27" y="23"/>
                    <a:pt x="27" y="23"/>
                    <a:pt x="27" y="23"/>
                  </a:cubicBezTo>
                  <a:cubicBezTo>
                    <a:pt x="30" y="19"/>
                    <a:pt x="30" y="19"/>
                    <a:pt x="30" y="19"/>
                  </a:cubicBezTo>
                  <a:cubicBezTo>
                    <a:pt x="30" y="17"/>
                    <a:pt x="30" y="17"/>
                    <a:pt x="30" y="17"/>
                  </a:cubicBezTo>
                  <a:cubicBezTo>
                    <a:pt x="33" y="11"/>
                    <a:pt x="33" y="11"/>
                    <a:pt x="33" y="11"/>
                  </a:cubicBezTo>
                  <a:cubicBezTo>
                    <a:pt x="39" y="7"/>
                    <a:pt x="39" y="7"/>
                    <a:pt x="39" y="7"/>
                  </a:cubicBezTo>
                  <a:cubicBezTo>
                    <a:pt x="39" y="6"/>
                    <a:pt x="39" y="6"/>
                    <a:pt x="39" y="6"/>
                  </a:cubicBezTo>
                  <a:cubicBezTo>
                    <a:pt x="37" y="6"/>
                    <a:pt x="37" y="6"/>
                    <a:pt x="37" y="6"/>
                  </a:cubicBezTo>
                  <a:lnTo>
                    <a:pt x="34" y="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4" name="Freeform 322"/>
            <p:cNvSpPr>
              <a:spLocks/>
            </p:cNvSpPr>
            <p:nvPr/>
          </p:nvSpPr>
          <p:spPr bwMode="auto">
            <a:xfrm>
              <a:off x="4268788" y="3106415"/>
              <a:ext cx="79375" cy="166687"/>
            </a:xfrm>
            <a:custGeom>
              <a:avLst/>
              <a:gdLst/>
              <a:ahLst/>
              <a:cxnLst>
                <a:cxn ang="0">
                  <a:pos x="42" y="103"/>
                </a:cxn>
                <a:cxn ang="0">
                  <a:pos x="42" y="97"/>
                </a:cxn>
                <a:cxn ang="0">
                  <a:pos x="42" y="97"/>
                </a:cxn>
                <a:cxn ang="0">
                  <a:pos x="42" y="85"/>
                </a:cxn>
                <a:cxn ang="0">
                  <a:pos x="48" y="73"/>
                </a:cxn>
                <a:cxn ang="0">
                  <a:pos x="48" y="67"/>
                </a:cxn>
                <a:cxn ang="0">
                  <a:pos x="48" y="49"/>
                </a:cxn>
                <a:cxn ang="0">
                  <a:pos x="54" y="43"/>
                </a:cxn>
                <a:cxn ang="0">
                  <a:pos x="54" y="31"/>
                </a:cxn>
                <a:cxn ang="0">
                  <a:pos x="60" y="19"/>
                </a:cxn>
                <a:cxn ang="0">
                  <a:pos x="54" y="13"/>
                </a:cxn>
                <a:cxn ang="0">
                  <a:pos x="48" y="6"/>
                </a:cxn>
                <a:cxn ang="0">
                  <a:pos x="30" y="0"/>
                </a:cxn>
                <a:cxn ang="0">
                  <a:pos x="18" y="6"/>
                </a:cxn>
                <a:cxn ang="0">
                  <a:pos x="12" y="13"/>
                </a:cxn>
                <a:cxn ang="0">
                  <a:pos x="12" y="13"/>
                </a:cxn>
                <a:cxn ang="0">
                  <a:pos x="6" y="13"/>
                </a:cxn>
                <a:cxn ang="0">
                  <a:pos x="12" y="37"/>
                </a:cxn>
                <a:cxn ang="0">
                  <a:pos x="12" y="61"/>
                </a:cxn>
                <a:cxn ang="0">
                  <a:pos x="0" y="91"/>
                </a:cxn>
                <a:cxn ang="0">
                  <a:pos x="12" y="97"/>
                </a:cxn>
                <a:cxn ang="0">
                  <a:pos x="12" y="127"/>
                </a:cxn>
                <a:cxn ang="0">
                  <a:pos x="36" y="127"/>
                </a:cxn>
                <a:cxn ang="0">
                  <a:pos x="42" y="115"/>
                </a:cxn>
                <a:cxn ang="0">
                  <a:pos x="42" y="103"/>
                </a:cxn>
              </a:cxnLst>
              <a:rect l="0" t="0" r="r" b="b"/>
              <a:pathLst>
                <a:path w="60" h="127">
                  <a:moveTo>
                    <a:pt x="42" y="103"/>
                  </a:moveTo>
                  <a:lnTo>
                    <a:pt x="42" y="97"/>
                  </a:lnTo>
                  <a:lnTo>
                    <a:pt x="42" y="97"/>
                  </a:lnTo>
                  <a:lnTo>
                    <a:pt x="42" y="85"/>
                  </a:lnTo>
                  <a:lnTo>
                    <a:pt x="48" y="73"/>
                  </a:lnTo>
                  <a:lnTo>
                    <a:pt x="48" y="67"/>
                  </a:lnTo>
                  <a:lnTo>
                    <a:pt x="48" y="49"/>
                  </a:lnTo>
                  <a:lnTo>
                    <a:pt x="54" y="43"/>
                  </a:lnTo>
                  <a:lnTo>
                    <a:pt x="54" y="31"/>
                  </a:lnTo>
                  <a:lnTo>
                    <a:pt x="60" y="19"/>
                  </a:lnTo>
                  <a:lnTo>
                    <a:pt x="54" y="13"/>
                  </a:lnTo>
                  <a:lnTo>
                    <a:pt x="48" y="6"/>
                  </a:lnTo>
                  <a:lnTo>
                    <a:pt x="30" y="0"/>
                  </a:lnTo>
                  <a:lnTo>
                    <a:pt x="18" y="6"/>
                  </a:lnTo>
                  <a:lnTo>
                    <a:pt x="12" y="13"/>
                  </a:lnTo>
                  <a:lnTo>
                    <a:pt x="12" y="13"/>
                  </a:lnTo>
                  <a:lnTo>
                    <a:pt x="6" y="13"/>
                  </a:lnTo>
                  <a:lnTo>
                    <a:pt x="12" y="37"/>
                  </a:lnTo>
                  <a:lnTo>
                    <a:pt x="12" y="61"/>
                  </a:lnTo>
                  <a:lnTo>
                    <a:pt x="0" y="91"/>
                  </a:lnTo>
                  <a:lnTo>
                    <a:pt x="12" y="97"/>
                  </a:lnTo>
                  <a:lnTo>
                    <a:pt x="12" y="127"/>
                  </a:lnTo>
                  <a:lnTo>
                    <a:pt x="36" y="127"/>
                  </a:lnTo>
                  <a:lnTo>
                    <a:pt x="42" y="115"/>
                  </a:lnTo>
                  <a:lnTo>
                    <a:pt x="42" y="10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5" name="Freeform 323"/>
            <p:cNvSpPr>
              <a:spLocks/>
            </p:cNvSpPr>
            <p:nvPr/>
          </p:nvSpPr>
          <p:spPr bwMode="auto">
            <a:xfrm>
              <a:off x="4332288" y="3131815"/>
              <a:ext cx="15875" cy="63500"/>
            </a:xfrm>
            <a:custGeom>
              <a:avLst/>
              <a:gdLst/>
              <a:ahLst/>
              <a:cxnLst>
                <a:cxn ang="0">
                  <a:pos x="6" y="24"/>
                </a:cxn>
                <a:cxn ang="0">
                  <a:pos x="0" y="30"/>
                </a:cxn>
                <a:cxn ang="0">
                  <a:pos x="0" y="48"/>
                </a:cxn>
                <a:cxn ang="0">
                  <a:pos x="6" y="18"/>
                </a:cxn>
                <a:cxn ang="0">
                  <a:pos x="12" y="0"/>
                </a:cxn>
                <a:cxn ang="0">
                  <a:pos x="6" y="12"/>
                </a:cxn>
                <a:cxn ang="0">
                  <a:pos x="6" y="24"/>
                </a:cxn>
              </a:cxnLst>
              <a:rect l="0" t="0" r="r" b="b"/>
              <a:pathLst>
                <a:path w="12" h="48">
                  <a:moveTo>
                    <a:pt x="6" y="24"/>
                  </a:moveTo>
                  <a:lnTo>
                    <a:pt x="0" y="30"/>
                  </a:lnTo>
                  <a:lnTo>
                    <a:pt x="0" y="48"/>
                  </a:lnTo>
                  <a:lnTo>
                    <a:pt x="6" y="18"/>
                  </a:lnTo>
                  <a:lnTo>
                    <a:pt x="12" y="0"/>
                  </a:lnTo>
                  <a:lnTo>
                    <a:pt x="6" y="12"/>
                  </a:lnTo>
                  <a:lnTo>
                    <a:pt x="6" y="2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6" name="Freeform 324"/>
            <p:cNvSpPr>
              <a:spLocks/>
            </p:cNvSpPr>
            <p:nvPr/>
          </p:nvSpPr>
          <p:spPr bwMode="auto">
            <a:xfrm>
              <a:off x="4318000" y="3239765"/>
              <a:ext cx="4763" cy="33337"/>
            </a:xfrm>
            <a:custGeom>
              <a:avLst/>
              <a:gdLst/>
              <a:ahLst/>
              <a:cxnLst>
                <a:cxn ang="0">
                  <a:pos x="6" y="0"/>
                </a:cxn>
                <a:cxn ang="0">
                  <a:pos x="6" y="12"/>
                </a:cxn>
                <a:cxn ang="0">
                  <a:pos x="0" y="24"/>
                </a:cxn>
                <a:cxn ang="0">
                  <a:pos x="6" y="6"/>
                </a:cxn>
                <a:cxn ang="0">
                  <a:pos x="6" y="0"/>
                </a:cxn>
              </a:cxnLst>
              <a:rect l="0" t="0" r="r" b="b"/>
              <a:pathLst>
                <a:path w="6" h="24">
                  <a:moveTo>
                    <a:pt x="6" y="0"/>
                  </a:moveTo>
                  <a:lnTo>
                    <a:pt x="6" y="12"/>
                  </a:lnTo>
                  <a:lnTo>
                    <a:pt x="0" y="24"/>
                  </a:lnTo>
                  <a:lnTo>
                    <a:pt x="6" y="6"/>
                  </a:lnTo>
                  <a:lnTo>
                    <a:pt x="6"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7" name="Freeform 325"/>
            <p:cNvSpPr>
              <a:spLocks/>
            </p:cNvSpPr>
            <p:nvPr/>
          </p:nvSpPr>
          <p:spPr bwMode="auto">
            <a:xfrm>
              <a:off x="4322763" y="3195315"/>
              <a:ext cx="9525" cy="22225"/>
            </a:xfrm>
            <a:custGeom>
              <a:avLst/>
              <a:gdLst/>
              <a:ahLst/>
              <a:cxnLst>
                <a:cxn ang="0">
                  <a:pos x="0" y="18"/>
                </a:cxn>
                <a:cxn ang="0">
                  <a:pos x="6" y="0"/>
                </a:cxn>
                <a:cxn ang="0">
                  <a:pos x="6" y="12"/>
                </a:cxn>
                <a:cxn ang="0">
                  <a:pos x="0" y="18"/>
                </a:cxn>
              </a:cxnLst>
              <a:rect l="0" t="0" r="r" b="b"/>
              <a:pathLst>
                <a:path w="6" h="18">
                  <a:moveTo>
                    <a:pt x="0" y="18"/>
                  </a:moveTo>
                  <a:lnTo>
                    <a:pt x="6" y="0"/>
                  </a:lnTo>
                  <a:lnTo>
                    <a:pt x="6" y="12"/>
                  </a:lnTo>
                  <a:lnTo>
                    <a:pt x="0" y="1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8" name="Freeform 326"/>
            <p:cNvSpPr>
              <a:spLocks/>
            </p:cNvSpPr>
            <p:nvPr/>
          </p:nvSpPr>
          <p:spPr bwMode="auto">
            <a:xfrm>
              <a:off x="4322763" y="3217540"/>
              <a:ext cx="0" cy="17462"/>
            </a:xfrm>
            <a:custGeom>
              <a:avLst/>
              <a:gdLst/>
              <a:ahLst/>
              <a:cxnLst>
                <a:cxn ang="0">
                  <a:pos x="0" y="12"/>
                </a:cxn>
                <a:cxn ang="0">
                  <a:pos x="0" y="0"/>
                </a:cxn>
                <a:cxn ang="0">
                  <a:pos x="0" y="12"/>
                </a:cxn>
                <a:cxn ang="0">
                  <a:pos x="0" y="12"/>
                </a:cxn>
              </a:cxnLst>
              <a:rect l="0" t="0" r="r" b="b"/>
              <a:pathLst>
                <a:path h="12">
                  <a:moveTo>
                    <a:pt x="0" y="12"/>
                  </a:moveTo>
                  <a:lnTo>
                    <a:pt x="0" y="0"/>
                  </a:lnTo>
                  <a:lnTo>
                    <a:pt x="0" y="12"/>
                  </a:lnTo>
                  <a:lnTo>
                    <a:pt x="0"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69" name="Freeform 327"/>
            <p:cNvSpPr>
              <a:spLocks/>
            </p:cNvSpPr>
            <p:nvPr/>
          </p:nvSpPr>
          <p:spPr bwMode="auto">
            <a:xfrm>
              <a:off x="5743575" y="3263577"/>
              <a:ext cx="25400" cy="17463"/>
            </a:xfrm>
            <a:custGeom>
              <a:avLst/>
              <a:gdLst/>
              <a:ahLst/>
              <a:cxnLst>
                <a:cxn ang="0">
                  <a:pos x="0" y="0"/>
                </a:cxn>
                <a:cxn ang="0">
                  <a:pos x="18" y="12"/>
                </a:cxn>
                <a:cxn ang="0">
                  <a:pos x="18" y="12"/>
                </a:cxn>
                <a:cxn ang="0">
                  <a:pos x="6" y="0"/>
                </a:cxn>
                <a:cxn ang="0">
                  <a:pos x="0" y="0"/>
                </a:cxn>
              </a:cxnLst>
              <a:rect l="0" t="0" r="r" b="b"/>
              <a:pathLst>
                <a:path w="18" h="12">
                  <a:moveTo>
                    <a:pt x="0" y="0"/>
                  </a:moveTo>
                  <a:lnTo>
                    <a:pt x="18" y="12"/>
                  </a:lnTo>
                  <a:lnTo>
                    <a:pt x="18" y="12"/>
                  </a:lnTo>
                  <a:lnTo>
                    <a:pt x="6" y="0"/>
                  </a:lnTo>
                  <a:lnTo>
                    <a:pt x="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0" name="Freeform 328"/>
            <p:cNvSpPr>
              <a:spLocks/>
            </p:cNvSpPr>
            <p:nvPr/>
          </p:nvSpPr>
          <p:spPr bwMode="auto">
            <a:xfrm>
              <a:off x="5707063" y="3225477"/>
              <a:ext cx="14287" cy="23813"/>
            </a:xfrm>
            <a:custGeom>
              <a:avLst/>
              <a:gdLst/>
              <a:ahLst/>
              <a:cxnLst>
                <a:cxn ang="0">
                  <a:pos x="0" y="0"/>
                </a:cxn>
                <a:cxn ang="0">
                  <a:pos x="12" y="18"/>
                </a:cxn>
                <a:cxn ang="0">
                  <a:pos x="12" y="12"/>
                </a:cxn>
                <a:cxn ang="0">
                  <a:pos x="0" y="0"/>
                </a:cxn>
              </a:cxnLst>
              <a:rect l="0" t="0" r="r" b="b"/>
              <a:pathLst>
                <a:path w="12" h="18">
                  <a:moveTo>
                    <a:pt x="0" y="0"/>
                  </a:moveTo>
                  <a:lnTo>
                    <a:pt x="12" y="18"/>
                  </a:lnTo>
                  <a:lnTo>
                    <a:pt x="12" y="12"/>
                  </a:lnTo>
                  <a:lnTo>
                    <a:pt x="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2" name="Freeform 335"/>
            <p:cNvSpPr>
              <a:spLocks/>
            </p:cNvSpPr>
            <p:nvPr/>
          </p:nvSpPr>
          <p:spPr bwMode="auto">
            <a:xfrm>
              <a:off x="5287963" y="2741290"/>
              <a:ext cx="15875" cy="7937"/>
            </a:xfrm>
            <a:custGeom>
              <a:avLst/>
              <a:gdLst/>
              <a:ahLst/>
              <a:cxnLst>
                <a:cxn ang="0">
                  <a:pos x="12" y="6"/>
                </a:cxn>
                <a:cxn ang="0">
                  <a:pos x="0" y="0"/>
                </a:cxn>
                <a:cxn ang="0">
                  <a:pos x="0" y="6"/>
                </a:cxn>
                <a:cxn ang="0">
                  <a:pos x="12" y="6"/>
                </a:cxn>
              </a:cxnLst>
              <a:rect l="0" t="0" r="r" b="b"/>
              <a:pathLst>
                <a:path w="12" h="6">
                  <a:moveTo>
                    <a:pt x="12" y="6"/>
                  </a:moveTo>
                  <a:lnTo>
                    <a:pt x="0" y="0"/>
                  </a:lnTo>
                  <a:lnTo>
                    <a:pt x="0" y="6"/>
                  </a:lnTo>
                  <a:lnTo>
                    <a:pt x="12"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3" name="Freeform 336"/>
            <p:cNvSpPr>
              <a:spLocks/>
            </p:cNvSpPr>
            <p:nvPr/>
          </p:nvSpPr>
          <p:spPr bwMode="auto">
            <a:xfrm>
              <a:off x="5186363" y="1155377"/>
              <a:ext cx="3792537" cy="2030413"/>
            </a:xfrm>
            <a:custGeom>
              <a:avLst/>
              <a:gdLst/>
              <a:ahLst/>
              <a:cxnLst>
                <a:cxn ang="0">
                  <a:pos x="470" y="89"/>
                </a:cxn>
                <a:cxn ang="0">
                  <a:pos x="451" y="97"/>
                </a:cxn>
                <a:cxn ang="0">
                  <a:pos x="431" y="89"/>
                </a:cxn>
                <a:cxn ang="0">
                  <a:pos x="403" y="77"/>
                </a:cxn>
                <a:cxn ang="0">
                  <a:pos x="362" y="59"/>
                </a:cxn>
                <a:cxn ang="0">
                  <a:pos x="342" y="70"/>
                </a:cxn>
                <a:cxn ang="0">
                  <a:pos x="323" y="73"/>
                </a:cxn>
                <a:cxn ang="0">
                  <a:pos x="312" y="51"/>
                </a:cxn>
                <a:cxn ang="0">
                  <a:pos x="287" y="53"/>
                </a:cxn>
                <a:cxn ang="0">
                  <a:pos x="264" y="44"/>
                </a:cxn>
                <a:cxn ang="0">
                  <a:pos x="262" y="39"/>
                </a:cxn>
                <a:cxn ang="0">
                  <a:pos x="254" y="8"/>
                </a:cxn>
                <a:cxn ang="0">
                  <a:pos x="216" y="19"/>
                </a:cxn>
                <a:cxn ang="0">
                  <a:pos x="169" y="54"/>
                </a:cxn>
                <a:cxn ang="0">
                  <a:pos x="152" y="59"/>
                </a:cxn>
                <a:cxn ang="0">
                  <a:pos x="143" y="76"/>
                </a:cxn>
                <a:cxn ang="0">
                  <a:pos x="128" y="70"/>
                </a:cxn>
                <a:cxn ang="0">
                  <a:pos x="132" y="94"/>
                </a:cxn>
                <a:cxn ang="0">
                  <a:pos x="104" y="95"/>
                </a:cxn>
                <a:cxn ang="0">
                  <a:pos x="83" y="97"/>
                </a:cxn>
                <a:cxn ang="0">
                  <a:pos x="59" y="112"/>
                </a:cxn>
                <a:cxn ang="0">
                  <a:pos x="53" y="99"/>
                </a:cxn>
                <a:cxn ang="0">
                  <a:pos x="49" y="116"/>
                </a:cxn>
                <a:cxn ang="0">
                  <a:pos x="39" y="129"/>
                </a:cxn>
                <a:cxn ang="0">
                  <a:pos x="31" y="136"/>
                </a:cxn>
                <a:cxn ang="0">
                  <a:pos x="23" y="118"/>
                </a:cxn>
                <a:cxn ang="0">
                  <a:pos x="22" y="113"/>
                </a:cxn>
                <a:cxn ang="0">
                  <a:pos x="36" y="101"/>
                </a:cxn>
                <a:cxn ang="0">
                  <a:pos x="13" y="87"/>
                </a:cxn>
                <a:cxn ang="0">
                  <a:pos x="4" y="94"/>
                </a:cxn>
                <a:cxn ang="0">
                  <a:pos x="8" y="107"/>
                </a:cxn>
                <a:cxn ang="0">
                  <a:pos x="8" y="129"/>
                </a:cxn>
                <a:cxn ang="0">
                  <a:pos x="11" y="143"/>
                </a:cxn>
                <a:cxn ang="0">
                  <a:pos x="2" y="164"/>
                </a:cxn>
                <a:cxn ang="0">
                  <a:pos x="9" y="186"/>
                </a:cxn>
                <a:cxn ang="0">
                  <a:pos x="15" y="205"/>
                </a:cxn>
                <a:cxn ang="0">
                  <a:pos x="34" y="219"/>
                </a:cxn>
                <a:cxn ang="0">
                  <a:pos x="26" y="232"/>
                </a:cxn>
                <a:cxn ang="0">
                  <a:pos x="45" y="248"/>
                </a:cxn>
                <a:cxn ang="0">
                  <a:pos x="59" y="256"/>
                </a:cxn>
                <a:cxn ang="0">
                  <a:pos x="63" y="244"/>
                </a:cxn>
                <a:cxn ang="0">
                  <a:pos x="63" y="224"/>
                </a:cxn>
                <a:cxn ang="0">
                  <a:pos x="82" y="209"/>
                </a:cxn>
                <a:cxn ang="0">
                  <a:pos x="109" y="196"/>
                </a:cxn>
                <a:cxn ang="0">
                  <a:pos x="160" y="203"/>
                </a:cxn>
                <a:cxn ang="0">
                  <a:pos x="191" y="222"/>
                </a:cxn>
                <a:cxn ang="0">
                  <a:pos x="224" y="211"/>
                </a:cxn>
                <a:cxn ang="0">
                  <a:pos x="275" y="216"/>
                </a:cxn>
                <a:cxn ang="0">
                  <a:pos x="307" y="200"/>
                </a:cxn>
                <a:cxn ang="0">
                  <a:pos x="329" y="239"/>
                </a:cxn>
                <a:cxn ang="0">
                  <a:pos x="335" y="250"/>
                </a:cxn>
                <a:cxn ang="0">
                  <a:pos x="360" y="203"/>
                </a:cxn>
                <a:cxn ang="0">
                  <a:pos x="341" y="192"/>
                </a:cxn>
                <a:cxn ang="0">
                  <a:pos x="371" y="164"/>
                </a:cxn>
                <a:cxn ang="0">
                  <a:pos x="403" y="166"/>
                </a:cxn>
                <a:cxn ang="0">
                  <a:pos x="421" y="155"/>
                </a:cxn>
                <a:cxn ang="0">
                  <a:pos x="419" y="166"/>
                </a:cxn>
                <a:cxn ang="0">
                  <a:pos x="416" y="202"/>
                </a:cxn>
                <a:cxn ang="0">
                  <a:pos x="427" y="184"/>
                </a:cxn>
                <a:cxn ang="0">
                  <a:pos x="435" y="161"/>
                </a:cxn>
                <a:cxn ang="0">
                  <a:pos x="457" y="156"/>
                </a:cxn>
                <a:cxn ang="0">
                  <a:pos x="479" y="140"/>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4" name="Freeform 337"/>
            <p:cNvSpPr>
              <a:spLocks/>
            </p:cNvSpPr>
            <p:nvPr/>
          </p:nvSpPr>
          <p:spPr bwMode="auto">
            <a:xfrm>
              <a:off x="5768975" y="3273102"/>
              <a:ext cx="71438" cy="7938"/>
            </a:xfrm>
            <a:custGeom>
              <a:avLst/>
              <a:gdLst/>
              <a:ahLst/>
              <a:cxnLst>
                <a:cxn ang="0">
                  <a:pos x="6" y="6"/>
                </a:cxn>
                <a:cxn ang="0">
                  <a:pos x="30" y="6"/>
                </a:cxn>
                <a:cxn ang="0">
                  <a:pos x="54" y="0"/>
                </a:cxn>
                <a:cxn ang="0">
                  <a:pos x="0" y="6"/>
                </a:cxn>
                <a:cxn ang="0">
                  <a:pos x="6" y="6"/>
                </a:cxn>
              </a:cxnLst>
              <a:rect l="0" t="0" r="r" b="b"/>
              <a:pathLst>
                <a:path w="54" h="6">
                  <a:moveTo>
                    <a:pt x="6" y="6"/>
                  </a:moveTo>
                  <a:lnTo>
                    <a:pt x="30" y="6"/>
                  </a:lnTo>
                  <a:lnTo>
                    <a:pt x="54" y="0"/>
                  </a:lnTo>
                  <a:lnTo>
                    <a:pt x="0" y="6"/>
                  </a:lnTo>
                  <a:lnTo>
                    <a:pt x="6"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5" name="Freeform 338"/>
            <p:cNvSpPr>
              <a:spLocks/>
            </p:cNvSpPr>
            <p:nvPr/>
          </p:nvSpPr>
          <p:spPr bwMode="auto">
            <a:xfrm>
              <a:off x="5659438" y="2615877"/>
              <a:ext cx="1011237" cy="709613"/>
            </a:xfrm>
            <a:custGeom>
              <a:avLst/>
              <a:gdLst/>
              <a:ahLst/>
              <a:cxnLst>
                <a:cxn ang="0">
                  <a:pos x="87" y="77"/>
                </a:cxn>
                <a:cxn ang="0">
                  <a:pos x="96" y="71"/>
                </a:cxn>
                <a:cxn ang="0">
                  <a:pos x="105" y="63"/>
                </a:cxn>
                <a:cxn ang="0">
                  <a:pos x="114" y="50"/>
                </a:cxn>
                <a:cxn ang="0">
                  <a:pos x="124" y="41"/>
                </a:cxn>
                <a:cxn ang="0">
                  <a:pos x="129" y="34"/>
                </a:cxn>
                <a:cxn ang="0">
                  <a:pos x="122" y="27"/>
                </a:cxn>
                <a:cxn ang="0">
                  <a:pos x="104" y="23"/>
                </a:cxn>
                <a:cxn ang="0">
                  <a:pos x="96" y="6"/>
                </a:cxn>
                <a:cxn ang="0">
                  <a:pos x="82" y="9"/>
                </a:cxn>
                <a:cxn ang="0">
                  <a:pos x="62" y="3"/>
                </a:cxn>
                <a:cxn ang="0">
                  <a:pos x="45" y="16"/>
                </a:cxn>
                <a:cxn ang="0">
                  <a:pos x="40" y="24"/>
                </a:cxn>
                <a:cxn ang="0">
                  <a:pos x="27" y="24"/>
                </a:cxn>
                <a:cxn ang="0">
                  <a:pos x="13" y="21"/>
                </a:cxn>
                <a:cxn ang="0">
                  <a:pos x="0" y="33"/>
                </a:cxn>
                <a:cxn ang="0">
                  <a:pos x="6" y="42"/>
                </a:cxn>
                <a:cxn ang="0">
                  <a:pos x="19" y="41"/>
                </a:cxn>
                <a:cxn ang="0">
                  <a:pos x="20" y="50"/>
                </a:cxn>
                <a:cxn ang="0">
                  <a:pos x="13" y="52"/>
                </a:cxn>
                <a:cxn ang="0">
                  <a:pos x="20" y="63"/>
                </a:cxn>
                <a:cxn ang="0">
                  <a:pos x="24" y="76"/>
                </a:cxn>
                <a:cxn ang="0">
                  <a:pos x="24" y="82"/>
                </a:cxn>
                <a:cxn ang="0">
                  <a:pos x="33" y="79"/>
                </a:cxn>
                <a:cxn ang="0">
                  <a:pos x="42" y="85"/>
                </a:cxn>
                <a:cxn ang="0">
                  <a:pos x="46" y="89"/>
                </a:cxn>
                <a:cxn ang="0">
                  <a:pos x="51" y="91"/>
                </a:cxn>
                <a:cxn ang="0">
                  <a:pos x="58" y="87"/>
                </a:cxn>
                <a:cxn ang="0">
                  <a:pos x="63" y="83"/>
                </a:cxn>
                <a:cxn ang="0">
                  <a:pos x="68" y="85"/>
                </a:cxn>
                <a:cxn ang="0">
                  <a:pos x="74" y="82"/>
                </a:cxn>
                <a:cxn ang="0">
                  <a:pos x="78" y="80"/>
                </a:cxn>
                <a:cxn ang="0">
                  <a:pos x="82" y="83"/>
                </a:cxn>
                <a:cxn ang="0">
                  <a:pos x="88" y="82"/>
                </a:cxn>
                <a:cxn ang="0">
                  <a:pos x="90" y="82"/>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6" name="Freeform 339"/>
            <p:cNvSpPr>
              <a:spLocks/>
            </p:cNvSpPr>
            <p:nvPr/>
          </p:nvSpPr>
          <p:spPr bwMode="auto">
            <a:xfrm>
              <a:off x="5721350" y="3249290"/>
              <a:ext cx="22225" cy="14287"/>
            </a:xfrm>
            <a:custGeom>
              <a:avLst/>
              <a:gdLst/>
              <a:ahLst/>
              <a:cxnLst>
                <a:cxn ang="0">
                  <a:pos x="0" y="0"/>
                </a:cxn>
                <a:cxn ang="0">
                  <a:pos x="0" y="12"/>
                </a:cxn>
                <a:cxn ang="0">
                  <a:pos x="18" y="12"/>
                </a:cxn>
                <a:cxn ang="0">
                  <a:pos x="12" y="12"/>
                </a:cxn>
                <a:cxn ang="0">
                  <a:pos x="0" y="0"/>
                </a:cxn>
              </a:cxnLst>
              <a:rect l="0" t="0" r="r" b="b"/>
              <a:pathLst>
                <a:path w="18" h="12">
                  <a:moveTo>
                    <a:pt x="0" y="0"/>
                  </a:moveTo>
                  <a:lnTo>
                    <a:pt x="0" y="12"/>
                  </a:lnTo>
                  <a:lnTo>
                    <a:pt x="18" y="12"/>
                  </a:lnTo>
                  <a:lnTo>
                    <a:pt x="12" y="12"/>
                  </a:lnTo>
                  <a:lnTo>
                    <a:pt x="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7" name="Rectangle 340"/>
            <p:cNvSpPr>
              <a:spLocks noChangeArrowheads="1"/>
            </p:cNvSpPr>
            <p:nvPr/>
          </p:nvSpPr>
          <p:spPr bwMode="auto">
            <a:xfrm>
              <a:off x="4903788" y="2880990"/>
              <a:ext cx="9525" cy="1587"/>
            </a:xfrm>
            <a:prstGeom prst="rect">
              <a:avLst/>
            </a:prstGeom>
            <a:grpFill/>
            <a:ln w="9525">
              <a:solidFill>
                <a:srgbClr val="0085C3"/>
              </a:solidFill>
              <a:miter lim="800000"/>
              <a:headEnd/>
              <a:tailEnd/>
            </a:ln>
          </p:spPr>
          <p:txBody>
            <a:bodyPr/>
            <a:lstStyle/>
            <a:p>
              <a:endParaRPr lang="en-US" dirty="0">
                <a:solidFill>
                  <a:srgbClr val="444444"/>
                </a:solidFill>
              </a:endParaRPr>
            </a:p>
          </p:txBody>
        </p:sp>
        <p:sp>
          <p:nvSpPr>
            <p:cNvPr id="78" name="Freeform 341"/>
            <p:cNvSpPr>
              <a:spLocks/>
            </p:cNvSpPr>
            <p:nvPr/>
          </p:nvSpPr>
          <p:spPr bwMode="auto">
            <a:xfrm>
              <a:off x="4732338" y="2873052"/>
              <a:ext cx="187325" cy="85725"/>
            </a:xfrm>
            <a:custGeom>
              <a:avLst/>
              <a:gdLst/>
              <a:ahLst/>
              <a:cxnLst>
                <a:cxn ang="0">
                  <a:pos x="23" y="6"/>
                </a:cxn>
                <a:cxn ang="0">
                  <a:pos x="24" y="4"/>
                </a:cxn>
                <a:cxn ang="0">
                  <a:pos x="24" y="4"/>
                </a:cxn>
                <a:cxn ang="0">
                  <a:pos x="23" y="2"/>
                </a:cxn>
                <a:cxn ang="0">
                  <a:pos x="23" y="1"/>
                </a:cxn>
                <a:cxn ang="0">
                  <a:pos x="22" y="1"/>
                </a:cxn>
                <a:cxn ang="0">
                  <a:pos x="18" y="0"/>
                </a:cxn>
                <a:cxn ang="0">
                  <a:pos x="17" y="1"/>
                </a:cxn>
                <a:cxn ang="0">
                  <a:pos x="14" y="1"/>
                </a:cxn>
                <a:cxn ang="0">
                  <a:pos x="13" y="2"/>
                </a:cxn>
                <a:cxn ang="0">
                  <a:pos x="11" y="3"/>
                </a:cxn>
                <a:cxn ang="0">
                  <a:pos x="12" y="5"/>
                </a:cxn>
                <a:cxn ang="0">
                  <a:pos x="11" y="6"/>
                </a:cxn>
                <a:cxn ang="0">
                  <a:pos x="10" y="6"/>
                </a:cxn>
                <a:cxn ang="0">
                  <a:pos x="6" y="7"/>
                </a:cxn>
                <a:cxn ang="0">
                  <a:pos x="4" y="7"/>
                </a:cxn>
                <a:cxn ang="0">
                  <a:pos x="2" y="7"/>
                </a:cxn>
                <a:cxn ang="0">
                  <a:pos x="1" y="7"/>
                </a:cxn>
                <a:cxn ang="0">
                  <a:pos x="0" y="7"/>
                </a:cxn>
                <a:cxn ang="0">
                  <a:pos x="1" y="8"/>
                </a:cxn>
                <a:cxn ang="0">
                  <a:pos x="3" y="10"/>
                </a:cxn>
                <a:cxn ang="0">
                  <a:pos x="4" y="11"/>
                </a:cxn>
                <a:cxn ang="0">
                  <a:pos x="5" y="10"/>
                </a:cxn>
                <a:cxn ang="0">
                  <a:pos x="9" y="10"/>
                </a:cxn>
                <a:cxn ang="0">
                  <a:pos x="13" y="11"/>
                </a:cxn>
                <a:cxn ang="0">
                  <a:pos x="14" y="11"/>
                </a:cxn>
                <a:cxn ang="0">
                  <a:pos x="18" y="11"/>
                </a:cxn>
                <a:cxn ang="0">
                  <a:pos x="21" y="9"/>
                </a:cxn>
                <a:cxn ang="0">
                  <a:pos x="22" y="9"/>
                </a:cxn>
                <a:cxn ang="0">
                  <a:pos x="23" y="6"/>
                </a:cxn>
              </a:cxnLst>
              <a:rect l="0" t="0" r="r" b="b"/>
              <a:pathLst>
                <a:path w="24" h="11">
                  <a:moveTo>
                    <a:pt x="23" y="6"/>
                  </a:moveTo>
                  <a:cubicBezTo>
                    <a:pt x="24" y="4"/>
                    <a:pt x="24" y="4"/>
                    <a:pt x="24" y="4"/>
                  </a:cubicBezTo>
                  <a:cubicBezTo>
                    <a:pt x="24" y="4"/>
                    <a:pt x="24" y="4"/>
                    <a:pt x="24" y="4"/>
                  </a:cubicBezTo>
                  <a:cubicBezTo>
                    <a:pt x="23" y="2"/>
                    <a:pt x="23" y="2"/>
                    <a:pt x="23" y="2"/>
                  </a:cubicBezTo>
                  <a:cubicBezTo>
                    <a:pt x="23" y="1"/>
                    <a:pt x="23" y="1"/>
                    <a:pt x="23" y="1"/>
                  </a:cubicBezTo>
                  <a:cubicBezTo>
                    <a:pt x="22" y="1"/>
                    <a:pt x="22" y="1"/>
                    <a:pt x="22" y="1"/>
                  </a:cubicBezTo>
                  <a:cubicBezTo>
                    <a:pt x="18" y="0"/>
                    <a:pt x="18" y="0"/>
                    <a:pt x="18" y="0"/>
                  </a:cubicBezTo>
                  <a:cubicBezTo>
                    <a:pt x="17" y="1"/>
                    <a:pt x="17" y="1"/>
                    <a:pt x="17" y="1"/>
                  </a:cubicBezTo>
                  <a:cubicBezTo>
                    <a:pt x="14" y="1"/>
                    <a:pt x="14" y="1"/>
                    <a:pt x="14" y="1"/>
                  </a:cubicBezTo>
                  <a:cubicBezTo>
                    <a:pt x="13" y="2"/>
                    <a:pt x="13" y="2"/>
                    <a:pt x="13" y="2"/>
                  </a:cubicBezTo>
                  <a:cubicBezTo>
                    <a:pt x="11" y="3"/>
                    <a:pt x="11" y="3"/>
                    <a:pt x="11" y="3"/>
                  </a:cubicBezTo>
                  <a:cubicBezTo>
                    <a:pt x="12" y="5"/>
                    <a:pt x="12" y="5"/>
                    <a:pt x="12" y="5"/>
                  </a:cubicBezTo>
                  <a:cubicBezTo>
                    <a:pt x="12" y="5"/>
                    <a:pt x="12" y="6"/>
                    <a:pt x="11" y="6"/>
                  </a:cubicBezTo>
                  <a:cubicBezTo>
                    <a:pt x="11" y="6"/>
                    <a:pt x="10" y="6"/>
                    <a:pt x="10" y="6"/>
                  </a:cubicBezTo>
                  <a:cubicBezTo>
                    <a:pt x="6" y="7"/>
                    <a:pt x="6" y="7"/>
                    <a:pt x="6" y="7"/>
                  </a:cubicBezTo>
                  <a:cubicBezTo>
                    <a:pt x="4" y="7"/>
                    <a:pt x="4" y="7"/>
                    <a:pt x="4" y="7"/>
                  </a:cubicBezTo>
                  <a:cubicBezTo>
                    <a:pt x="4" y="7"/>
                    <a:pt x="2" y="8"/>
                    <a:pt x="2" y="7"/>
                  </a:cubicBezTo>
                  <a:cubicBezTo>
                    <a:pt x="2" y="7"/>
                    <a:pt x="1" y="7"/>
                    <a:pt x="1" y="7"/>
                  </a:cubicBezTo>
                  <a:cubicBezTo>
                    <a:pt x="0" y="7"/>
                    <a:pt x="0" y="7"/>
                    <a:pt x="0" y="7"/>
                  </a:cubicBezTo>
                  <a:cubicBezTo>
                    <a:pt x="1" y="8"/>
                    <a:pt x="1" y="8"/>
                    <a:pt x="1" y="8"/>
                  </a:cubicBezTo>
                  <a:cubicBezTo>
                    <a:pt x="3" y="10"/>
                    <a:pt x="3" y="10"/>
                    <a:pt x="3" y="10"/>
                  </a:cubicBezTo>
                  <a:cubicBezTo>
                    <a:pt x="4" y="11"/>
                    <a:pt x="4" y="11"/>
                    <a:pt x="4" y="11"/>
                  </a:cubicBezTo>
                  <a:cubicBezTo>
                    <a:pt x="5" y="10"/>
                    <a:pt x="5" y="10"/>
                    <a:pt x="5" y="10"/>
                  </a:cubicBezTo>
                  <a:cubicBezTo>
                    <a:pt x="9" y="10"/>
                    <a:pt x="9" y="10"/>
                    <a:pt x="9" y="10"/>
                  </a:cubicBezTo>
                  <a:cubicBezTo>
                    <a:pt x="13" y="11"/>
                    <a:pt x="13" y="11"/>
                    <a:pt x="13" y="11"/>
                  </a:cubicBezTo>
                  <a:cubicBezTo>
                    <a:pt x="14" y="11"/>
                    <a:pt x="14" y="11"/>
                    <a:pt x="14" y="11"/>
                  </a:cubicBezTo>
                  <a:cubicBezTo>
                    <a:pt x="18" y="11"/>
                    <a:pt x="18" y="11"/>
                    <a:pt x="18" y="11"/>
                  </a:cubicBezTo>
                  <a:cubicBezTo>
                    <a:pt x="21" y="9"/>
                    <a:pt x="21" y="9"/>
                    <a:pt x="21" y="9"/>
                  </a:cubicBezTo>
                  <a:cubicBezTo>
                    <a:pt x="22" y="9"/>
                    <a:pt x="22" y="9"/>
                    <a:pt x="22" y="9"/>
                  </a:cubicBezTo>
                  <a:lnTo>
                    <a:pt x="23"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79" name="Freeform 342"/>
            <p:cNvSpPr>
              <a:spLocks/>
            </p:cNvSpPr>
            <p:nvPr/>
          </p:nvSpPr>
          <p:spPr bwMode="auto">
            <a:xfrm>
              <a:off x="4386263" y="2788915"/>
              <a:ext cx="314325" cy="317500"/>
            </a:xfrm>
            <a:custGeom>
              <a:avLst/>
              <a:gdLst/>
              <a:ahLst/>
              <a:cxnLst>
                <a:cxn ang="0">
                  <a:pos x="36" y="29"/>
                </a:cxn>
                <a:cxn ang="0">
                  <a:pos x="37" y="27"/>
                </a:cxn>
                <a:cxn ang="0">
                  <a:pos x="37" y="25"/>
                </a:cxn>
                <a:cxn ang="0">
                  <a:pos x="37" y="25"/>
                </a:cxn>
                <a:cxn ang="0">
                  <a:pos x="36" y="23"/>
                </a:cxn>
                <a:cxn ang="0">
                  <a:pos x="34" y="23"/>
                </a:cxn>
                <a:cxn ang="0">
                  <a:pos x="34" y="21"/>
                </a:cxn>
                <a:cxn ang="0">
                  <a:pos x="37" y="18"/>
                </a:cxn>
                <a:cxn ang="0">
                  <a:pos x="38" y="17"/>
                </a:cxn>
                <a:cxn ang="0">
                  <a:pos x="38" y="17"/>
                </a:cxn>
                <a:cxn ang="0">
                  <a:pos x="38" y="13"/>
                </a:cxn>
                <a:cxn ang="0">
                  <a:pos x="40" y="11"/>
                </a:cxn>
                <a:cxn ang="0">
                  <a:pos x="37" y="10"/>
                </a:cxn>
                <a:cxn ang="0">
                  <a:pos x="35" y="9"/>
                </a:cxn>
                <a:cxn ang="0">
                  <a:pos x="32" y="8"/>
                </a:cxn>
                <a:cxn ang="0">
                  <a:pos x="31" y="7"/>
                </a:cxn>
                <a:cxn ang="0">
                  <a:pos x="29" y="6"/>
                </a:cxn>
                <a:cxn ang="0">
                  <a:pos x="27" y="5"/>
                </a:cxn>
                <a:cxn ang="0">
                  <a:pos x="26" y="3"/>
                </a:cxn>
                <a:cxn ang="0">
                  <a:pos x="24" y="2"/>
                </a:cxn>
                <a:cxn ang="0">
                  <a:pos x="23" y="0"/>
                </a:cxn>
                <a:cxn ang="0">
                  <a:pos x="21" y="1"/>
                </a:cxn>
                <a:cxn ang="0">
                  <a:pos x="19" y="5"/>
                </a:cxn>
                <a:cxn ang="0">
                  <a:pos x="18" y="6"/>
                </a:cxn>
                <a:cxn ang="0">
                  <a:pos x="16" y="9"/>
                </a:cxn>
                <a:cxn ang="0">
                  <a:pos x="12" y="9"/>
                </a:cxn>
                <a:cxn ang="0">
                  <a:pos x="11" y="8"/>
                </a:cxn>
                <a:cxn ang="0">
                  <a:pos x="9" y="8"/>
                </a:cxn>
                <a:cxn ang="0">
                  <a:pos x="9" y="10"/>
                </a:cxn>
                <a:cxn ang="0">
                  <a:pos x="10" y="12"/>
                </a:cxn>
                <a:cxn ang="0">
                  <a:pos x="7" y="12"/>
                </a:cxn>
                <a:cxn ang="0">
                  <a:pos x="6" y="12"/>
                </a:cxn>
                <a:cxn ang="0">
                  <a:pos x="3" y="12"/>
                </a:cxn>
                <a:cxn ang="0">
                  <a:pos x="0" y="13"/>
                </a:cxn>
                <a:cxn ang="0">
                  <a:pos x="0" y="14"/>
                </a:cxn>
                <a:cxn ang="0">
                  <a:pos x="0" y="16"/>
                </a:cxn>
                <a:cxn ang="0">
                  <a:pos x="4" y="18"/>
                </a:cxn>
                <a:cxn ang="0">
                  <a:pos x="7" y="18"/>
                </a:cxn>
                <a:cxn ang="0">
                  <a:pos x="8" y="19"/>
                </a:cxn>
                <a:cxn ang="0">
                  <a:pos x="8" y="20"/>
                </a:cxn>
                <a:cxn ang="0">
                  <a:pos x="9" y="22"/>
                </a:cxn>
                <a:cxn ang="0">
                  <a:pos x="10" y="25"/>
                </a:cxn>
                <a:cxn ang="0">
                  <a:pos x="11" y="26"/>
                </a:cxn>
                <a:cxn ang="0">
                  <a:pos x="11" y="29"/>
                </a:cxn>
                <a:cxn ang="0">
                  <a:pos x="10" y="37"/>
                </a:cxn>
                <a:cxn ang="0">
                  <a:pos x="10" y="37"/>
                </a:cxn>
                <a:cxn ang="0">
                  <a:pos x="11" y="39"/>
                </a:cxn>
                <a:cxn ang="0">
                  <a:pos x="12" y="39"/>
                </a:cxn>
                <a:cxn ang="0">
                  <a:pos x="14" y="39"/>
                </a:cxn>
                <a:cxn ang="0">
                  <a:pos x="17" y="40"/>
                </a:cxn>
                <a:cxn ang="0">
                  <a:pos x="19" y="40"/>
                </a:cxn>
                <a:cxn ang="0">
                  <a:pos x="22" y="41"/>
                </a:cxn>
                <a:cxn ang="0">
                  <a:pos x="24" y="41"/>
                </a:cxn>
                <a:cxn ang="0">
                  <a:pos x="25" y="38"/>
                </a:cxn>
                <a:cxn ang="0">
                  <a:pos x="28" y="37"/>
                </a:cxn>
                <a:cxn ang="0">
                  <a:pos x="32" y="38"/>
                </a:cxn>
                <a:cxn ang="0">
                  <a:pos x="38" y="34"/>
                </a:cxn>
                <a:cxn ang="0">
                  <a:pos x="39" y="34"/>
                </a:cxn>
                <a:cxn ang="0">
                  <a:pos x="37" y="32"/>
                </a:cxn>
                <a:cxn ang="0">
                  <a:pos x="36" y="29"/>
                </a:cxn>
              </a:cxnLst>
              <a:rect l="0" t="0" r="r" b="b"/>
              <a:pathLst>
                <a:path w="40" h="41">
                  <a:moveTo>
                    <a:pt x="36" y="29"/>
                  </a:moveTo>
                  <a:cubicBezTo>
                    <a:pt x="37" y="27"/>
                    <a:pt x="37" y="27"/>
                    <a:pt x="37" y="27"/>
                  </a:cubicBezTo>
                  <a:cubicBezTo>
                    <a:pt x="37" y="25"/>
                    <a:pt x="37" y="25"/>
                    <a:pt x="37" y="25"/>
                  </a:cubicBezTo>
                  <a:cubicBezTo>
                    <a:pt x="37" y="25"/>
                    <a:pt x="37" y="25"/>
                    <a:pt x="37" y="25"/>
                  </a:cubicBezTo>
                  <a:cubicBezTo>
                    <a:pt x="36" y="23"/>
                    <a:pt x="36" y="23"/>
                    <a:pt x="36" y="23"/>
                  </a:cubicBezTo>
                  <a:cubicBezTo>
                    <a:pt x="34" y="23"/>
                    <a:pt x="34" y="23"/>
                    <a:pt x="34" y="23"/>
                  </a:cubicBezTo>
                  <a:cubicBezTo>
                    <a:pt x="34" y="21"/>
                    <a:pt x="34" y="21"/>
                    <a:pt x="34" y="21"/>
                  </a:cubicBezTo>
                  <a:cubicBezTo>
                    <a:pt x="37" y="18"/>
                    <a:pt x="37" y="18"/>
                    <a:pt x="37" y="18"/>
                  </a:cubicBezTo>
                  <a:cubicBezTo>
                    <a:pt x="38" y="17"/>
                    <a:pt x="38" y="17"/>
                    <a:pt x="38" y="17"/>
                  </a:cubicBezTo>
                  <a:cubicBezTo>
                    <a:pt x="38" y="17"/>
                    <a:pt x="38" y="17"/>
                    <a:pt x="38" y="17"/>
                  </a:cubicBezTo>
                  <a:cubicBezTo>
                    <a:pt x="38" y="13"/>
                    <a:pt x="38" y="13"/>
                    <a:pt x="38" y="13"/>
                  </a:cubicBezTo>
                  <a:cubicBezTo>
                    <a:pt x="40" y="11"/>
                    <a:pt x="40" y="11"/>
                    <a:pt x="40" y="11"/>
                  </a:cubicBezTo>
                  <a:cubicBezTo>
                    <a:pt x="37" y="10"/>
                    <a:pt x="37" y="10"/>
                    <a:pt x="37" y="10"/>
                  </a:cubicBezTo>
                  <a:cubicBezTo>
                    <a:pt x="35" y="9"/>
                    <a:pt x="35" y="9"/>
                    <a:pt x="35" y="9"/>
                  </a:cubicBezTo>
                  <a:cubicBezTo>
                    <a:pt x="32" y="8"/>
                    <a:pt x="32" y="8"/>
                    <a:pt x="32" y="8"/>
                  </a:cubicBezTo>
                  <a:cubicBezTo>
                    <a:pt x="31" y="7"/>
                    <a:pt x="31" y="7"/>
                    <a:pt x="31" y="7"/>
                  </a:cubicBezTo>
                  <a:cubicBezTo>
                    <a:pt x="29" y="6"/>
                    <a:pt x="29" y="6"/>
                    <a:pt x="29" y="6"/>
                  </a:cubicBezTo>
                  <a:cubicBezTo>
                    <a:pt x="27" y="5"/>
                    <a:pt x="27" y="5"/>
                    <a:pt x="27" y="5"/>
                  </a:cubicBezTo>
                  <a:cubicBezTo>
                    <a:pt x="26" y="3"/>
                    <a:pt x="26" y="3"/>
                    <a:pt x="26" y="3"/>
                  </a:cubicBezTo>
                  <a:cubicBezTo>
                    <a:pt x="24" y="2"/>
                    <a:pt x="24" y="2"/>
                    <a:pt x="24" y="2"/>
                  </a:cubicBezTo>
                  <a:cubicBezTo>
                    <a:pt x="23" y="0"/>
                    <a:pt x="23" y="0"/>
                    <a:pt x="23" y="0"/>
                  </a:cubicBezTo>
                  <a:cubicBezTo>
                    <a:pt x="21" y="1"/>
                    <a:pt x="21" y="1"/>
                    <a:pt x="21" y="1"/>
                  </a:cubicBezTo>
                  <a:cubicBezTo>
                    <a:pt x="19" y="5"/>
                    <a:pt x="19" y="5"/>
                    <a:pt x="19" y="5"/>
                  </a:cubicBezTo>
                  <a:cubicBezTo>
                    <a:pt x="18" y="6"/>
                    <a:pt x="18" y="6"/>
                    <a:pt x="18" y="6"/>
                  </a:cubicBezTo>
                  <a:cubicBezTo>
                    <a:pt x="16" y="9"/>
                    <a:pt x="16" y="9"/>
                    <a:pt x="16" y="9"/>
                  </a:cubicBezTo>
                  <a:cubicBezTo>
                    <a:pt x="12" y="9"/>
                    <a:pt x="12" y="9"/>
                    <a:pt x="12" y="9"/>
                  </a:cubicBezTo>
                  <a:cubicBezTo>
                    <a:pt x="11" y="8"/>
                    <a:pt x="11" y="8"/>
                    <a:pt x="11" y="8"/>
                  </a:cubicBezTo>
                  <a:cubicBezTo>
                    <a:pt x="9" y="8"/>
                    <a:pt x="9" y="8"/>
                    <a:pt x="9" y="8"/>
                  </a:cubicBezTo>
                  <a:cubicBezTo>
                    <a:pt x="9" y="10"/>
                    <a:pt x="9" y="10"/>
                    <a:pt x="9" y="10"/>
                  </a:cubicBezTo>
                  <a:cubicBezTo>
                    <a:pt x="10" y="12"/>
                    <a:pt x="10" y="12"/>
                    <a:pt x="10" y="12"/>
                  </a:cubicBezTo>
                  <a:cubicBezTo>
                    <a:pt x="7" y="12"/>
                    <a:pt x="7" y="12"/>
                    <a:pt x="7" y="12"/>
                  </a:cubicBezTo>
                  <a:cubicBezTo>
                    <a:pt x="6" y="12"/>
                    <a:pt x="6" y="12"/>
                    <a:pt x="6" y="12"/>
                  </a:cubicBezTo>
                  <a:cubicBezTo>
                    <a:pt x="3" y="12"/>
                    <a:pt x="3" y="12"/>
                    <a:pt x="3" y="12"/>
                  </a:cubicBezTo>
                  <a:cubicBezTo>
                    <a:pt x="0" y="13"/>
                    <a:pt x="0" y="13"/>
                    <a:pt x="0" y="13"/>
                  </a:cubicBezTo>
                  <a:cubicBezTo>
                    <a:pt x="0" y="14"/>
                    <a:pt x="0" y="14"/>
                    <a:pt x="0" y="14"/>
                  </a:cubicBezTo>
                  <a:cubicBezTo>
                    <a:pt x="0" y="16"/>
                    <a:pt x="0" y="16"/>
                    <a:pt x="0" y="16"/>
                  </a:cubicBezTo>
                  <a:cubicBezTo>
                    <a:pt x="4" y="18"/>
                    <a:pt x="4" y="18"/>
                    <a:pt x="4" y="18"/>
                  </a:cubicBezTo>
                  <a:cubicBezTo>
                    <a:pt x="7" y="18"/>
                    <a:pt x="7" y="18"/>
                    <a:pt x="7" y="18"/>
                  </a:cubicBezTo>
                  <a:cubicBezTo>
                    <a:pt x="8" y="19"/>
                    <a:pt x="8" y="19"/>
                    <a:pt x="8" y="19"/>
                  </a:cubicBezTo>
                  <a:cubicBezTo>
                    <a:pt x="8" y="20"/>
                    <a:pt x="8" y="20"/>
                    <a:pt x="8" y="20"/>
                  </a:cubicBezTo>
                  <a:cubicBezTo>
                    <a:pt x="9" y="22"/>
                    <a:pt x="9" y="22"/>
                    <a:pt x="9" y="22"/>
                  </a:cubicBezTo>
                  <a:cubicBezTo>
                    <a:pt x="10" y="25"/>
                    <a:pt x="10" y="25"/>
                    <a:pt x="10" y="25"/>
                  </a:cubicBezTo>
                  <a:cubicBezTo>
                    <a:pt x="11" y="26"/>
                    <a:pt x="11" y="26"/>
                    <a:pt x="11" y="26"/>
                  </a:cubicBezTo>
                  <a:cubicBezTo>
                    <a:pt x="11" y="29"/>
                    <a:pt x="11" y="29"/>
                    <a:pt x="11" y="29"/>
                  </a:cubicBezTo>
                  <a:cubicBezTo>
                    <a:pt x="10" y="37"/>
                    <a:pt x="10" y="37"/>
                    <a:pt x="10" y="37"/>
                  </a:cubicBezTo>
                  <a:cubicBezTo>
                    <a:pt x="10" y="37"/>
                    <a:pt x="10" y="37"/>
                    <a:pt x="10" y="37"/>
                  </a:cubicBezTo>
                  <a:cubicBezTo>
                    <a:pt x="11" y="39"/>
                    <a:pt x="11" y="39"/>
                    <a:pt x="11" y="39"/>
                  </a:cubicBezTo>
                  <a:cubicBezTo>
                    <a:pt x="12" y="39"/>
                    <a:pt x="12" y="39"/>
                    <a:pt x="12" y="39"/>
                  </a:cubicBezTo>
                  <a:cubicBezTo>
                    <a:pt x="14" y="39"/>
                    <a:pt x="14" y="39"/>
                    <a:pt x="14" y="39"/>
                  </a:cubicBezTo>
                  <a:cubicBezTo>
                    <a:pt x="14" y="39"/>
                    <a:pt x="17" y="40"/>
                    <a:pt x="17" y="40"/>
                  </a:cubicBezTo>
                  <a:cubicBezTo>
                    <a:pt x="18" y="40"/>
                    <a:pt x="19" y="40"/>
                    <a:pt x="19" y="40"/>
                  </a:cubicBezTo>
                  <a:cubicBezTo>
                    <a:pt x="22" y="41"/>
                    <a:pt x="22" y="41"/>
                    <a:pt x="22" y="41"/>
                  </a:cubicBezTo>
                  <a:cubicBezTo>
                    <a:pt x="24" y="41"/>
                    <a:pt x="24" y="41"/>
                    <a:pt x="24" y="41"/>
                  </a:cubicBezTo>
                  <a:cubicBezTo>
                    <a:pt x="25" y="38"/>
                    <a:pt x="25" y="38"/>
                    <a:pt x="25" y="38"/>
                  </a:cubicBezTo>
                  <a:cubicBezTo>
                    <a:pt x="28" y="37"/>
                    <a:pt x="28" y="37"/>
                    <a:pt x="28" y="37"/>
                  </a:cubicBezTo>
                  <a:cubicBezTo>
                    <a:pt x="32" y="38"/>
                    <a:pt x="32" y="38"/>
                    <a:pt x="32" y="38"/>
                  </a:cubicBezTo>
                  <a:cubicBezTo>
                    <a:pt x="38" y="34"/>
                    <a:pt x="38" y="34"/>
                    <a:pt x="38" y="34"/>
                  </a:cubicBezTo>
                  <a:cubicBezTo>
                    <a:pt x="39" y="34"/>
                    <a:pt x="39" y="34"/>
                    <a:pt x="39" y="34"/>
                  </a:cubicBezTo>
                  <a:cubicBezTo>
                    <a:pt x="37" y="32"/>
                    <a:pt x="37" y="32"/>
                    <a:pt x="37" y="32"/>
                  </a:cubicBezTo>
                  <a:lnTo>
                    <a:pt x="36" y="2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0" name="Freeform 343"/>
            <p:cNvSpPr>
              <a:spLocks/>
            </p:cNvSpPr>
            <p:nvPr/>
          </p:nvSpPr>
          <p:spPr bwMode="auto">
            <a:xfrm>
              <a:off x="4668838" y="2950840"/>
              <a:ext cx="290512" cy="293687"/>
            </a:xfrm>
            <a:custGeom>
              <a:avLst/>
              <a:gdLst/>
              <a:ahLst/>
              <a:cxnLst>
                <a:cxn ang="0">
                  <a:pos x="87" y="4"/>
                </a:cxn>
                <a:cxn ang="0">
                  <a:pos x="71" y="0"/>
                </a:cxn>
                <a:cxn ang="0">
                  <a:pos x="54" y="0"/>
                </a:cxn>
                <a:cxn ang="0">
                  <a:pos x="50" y="4"/>
                </a:cxn>
                <a:cxn ang="0">
                  <a:pos x="46" y="4"/>
                </a:cxn>
                <a:cxn ang="0">
                  <a:pos x="37" y="8"/>
                </a:cxn>
                <a:cxn ang="0">
                  <a:pos x="25" y="12"/>
                </a:cxn>
                <a:cxn ang="0">
                  <a:pos x="21" y="8"/>
                </a:cxn>
                <a:cxn ang="0">
                  <a:pos x="8" y="16"/>
                </a:cxn>
                <a:cxn ang="0">
                  <a:pos x="4" y="16"/>
                </a:cxn>
                <a:cxn ang="0">
                  <a:pos x="4" y="25"/>
                </a:cxn>
                <a:cxn ang="0">
                  <a:pos x="0" y="33"/>
                </a:cxn>
                <a:cxn ang="0">
                  <a:pos x="4" y="45"/>
                </a:cxn>
                <a:cxn ang="0">
                  <a:pos x="12" y="54"/>
                </a:cxn>
                <a:cxn ang="0">
                  <a:pos x="21" y="45"/>
                </a:cxn>
                <a:cxn ang="0">
                  <a:pos x="42" y="54"/>
                </a:cxn>
                <a:cxn ang="0">
                  <a:pos x="54" y="78"/>
                </a:cxn>
                <a:cxn ang="0">
                  <a:pos x="67" y="95"/>
                </a:cxn>
                <a:cxn ang="0">
                  <a:pos x="96" y="112"/>
                </a:cxn>
                <a:cxn ang="0">
                  <a:pos x="114" y="126"/>
                </a:cxn>
                <a:cxn ang="0">
                  <a:pos x="106" y="154"/>
                </a:cxn>
                <a:cxn ang="0">
                  <a:pos x="133" y="133"/>
                </a:cxn>
                <a:cxn ang="0">
                  <a:pos x="133" y="120"/>
                </a:cxn>
                <a:cxn ang="0">
                  <a:pos x="146" y="124"/>
                </a:cxn>
                <a:cxn ang="0">
                  <a:pos x="154" y="124"/>
                </a:cxn>
                <a:cxn ang="0">
                  <a:pos x="133" y="104"/>
                </a:cxn>
                <a:cxn ang="0">
                  <a:pos x="117" y="91"/>
                </a:cxn>
                <a:cxn ang="0">
                  <a:pos x="104" y="87"/>
                </a:cxn>
                <a:cxn ang="0">
                  <a:pos x="87" y="58"/>
                </a:cxn>
                <a:cxn ang="0">
                  <a:pos x="79" y="41"/>
                </a:cxn>
                <a:cxn ang="0">
                  <a:pos x="83" y="25"/>
                </a:cxn>
                <a:cxn ang="0">
                  <a:pos x="87" y="25"/>
                </a:cxn>
                <a:cxn ang="0">
                  <a:pos x="87" y="16"/>
                </a:cxn>
                <a:cxn ang="0">
                  <a:pos x="87" y="4"/>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1" name="Freeform 344"/>
            <p:cNvSpPr>
              <a:spLocks/>
            </p:cNvSpPr>
            <p:nvPr/>
          </p:nvSpPr>
          <p:spPr bwMode="auto">
            <a:xfrm>
              <a:off x="4638675" y="2631752"/>
              <a:ext cx="227013" cy="303213"/>
            </a:xfrm>
            <a:custGeom>
              <a:avLst/>
              <a:gdLst/>
              <a:ahLst/>
              <a:cxnLst>
                <a:cxn ang="0">
                  <a:pos x="5" y="10"/>
                </a:cxn>
                <a:cxn ang="0">
                  <a:pos x="4" y="12"/>
                </a:cxn>
                <a:cxn ang="0">
                  <a:pos x="4" y="15"/>
                </a:cxn>
                <a:cxn ang="0">
                  <a:pos x="2" y="17"/>
                </a:cxn>
                <a:cxn ang="0">
                  <a:pos x="2" y="20"/>
                </a:cxn>
                <a:cxn ang="0">
                  <a:pos x="1" y="22"/>
                </a:cxn>
                <a:cxn ang="0">
                  <a:pos x="1" y="22"/>
                </a:cxn>
                <a:cxn ang="0">
                  <a:pos x="2" y="24"/>
                </a:cxn>
                <a:cxn ang="0">
                  <a:pos x="1" y="26"/>
                </a:cxn>
                <a:cxn ang="0">
                  <a:pos x="0" y="28"/>
                </a:cxn>
                <a:cxn ang="0">
                  <a:pos x="3" y="29"/>
                </a:cxn>
                <a:cxn ang="0">
                  <a:pos x="5" y="30"/>
                </a:cxn>
                <a:cxn ang="0">
                  <a:pos x="8" y="31"/>
                </a:cxn>
                <a:cxn ang="0">
                  <a:pos x="6" y="33"/>
                </a:cxn>
                <a:cxn ang="0">
                  <a:pos x="6" y="37"/>
                </a:cxn>
                <a:cxn ang="0">
                  <a:pos x="7" y="38"/>
                </a:cxn>
                <a:cxn ang="0">
                  <a:pos x="10" y="37"/>
                </a:cxn>
                <a:cxn ang="0">
                  <a:pos x="12" y="38"/>
                </a:cxn>
                <a:cxn ang="0">
                  <a:pos x="13" y="38"/>
                </a:cxn>
                <a:cxn ang="0">
                  <a:pos x="14" y="38"/>
                </a:cxn>
                <a:cxn ang="0">
                  <a:pos x="16" y="38"/>
                </a:cxn>
                <a:cxn ang="0">
                  <a:pos x="18" y="38"/>
                </a:cxn>
                <a:cxn ang="0">
                  <a:pos x="22" y="37"/>
                </a:cxn>
                <a:cxn ang="0">
                  <a:pos x="23" y="37"/>
                </a:cxn>
                <a:cxn ang="0">
                  <a:pos x="24" y="36"/>
                </a:cxn>
                <a:cxn ang="0">
                  <a:pos x="23" y="34"/>
                </a:cxn>
                <a:cxn ang="0">
                  <a:pos x="25" y="33"/>
                </a:cxn>
                <a:cxn ang="0">
                  <a:pos x="26" y="32"/>
                </a:cxn>
                <a:cxn ang="0">
                  <a:pos x="26" y="32"/>
                </a:cxn>
                <a:cxn ang="0">
                  <a:pos x="25" y="31"/>
                </a:cxn>
                <a:cxn ang="0">
                  <a:pos x="23" y="28"/>
                </a:cxn>
                <a:cxn ang="0">
                  <a:pos x="21" y="26"/>
                </a:cxn>
                <a:cxn ang="0">
                  <a:pos x="20" y="25"/>
                </a:cxn>
                <a:cxn ang="0">
                  <a:pos x="22" y="24"/>
                </a:cxn>
                <a:cxn ang="0">
                  <a:pos x="24" y="23"/>
                </a:cxn>
                <a:cxn ang="0">
                  <a:pos x="26" y="22"/>
                </a:cxn>
                <a:cxn ang="0">
                  <a:pos x="27" y="21"/>
                </a:cxn>
                <a:cxn ang="0">
                  <a:pos x="29" y="22"/>
                </a:cxn>
                <a:cxn ang="0">
                  <a:pos x="29" y="21"/>
                </a:cxn>
                <a:cxn ang="0">
                  <a:pos x="29" y="18"/>
                </a:cxn>
                <a:cxn ang="0">
                  <a:pos x="28" y="14"/>
                </a:cxn>
                <a:cxn ang="0">
                  <a:pos x="28" y="11"/>
                </a:cxn>
                <a:cxn ang="0">
                  <a:pos x="28" y="10"/>
                </a:cxn>
                <a:cxn ang="0">
                  <a:pos x="27" y="7"/>
                </a:cxn>
                <a:cxn ang="0">
                  <a:pos x="27" y="5"/>
                </a:cxn>
                <a:cxn ang="0">
                  <a:pos x="23" y="3"/>
                </a:cxn>
                <a:cxn ang="0">
                  <a:pos x="19" y="5"/>
                </a:cxn>
                <a:cxn ang="0">
                  <a:pos x="17" y="4"/>
                </a:cxn>
                <a:cxn ang="0">
                  <a:pos x="17" y="2"/>
                </a:cxn>
                <a:cxn ang="0">
                  <a:pos x="14" y="1"/>
                </a:cxn>
                <a:cxn ang="0">
                  <a:pos x="14" y="1"/>
                </a:cxn>
                <a:cxn ang="0">
                  <a:pos x="12" y="0"/>
                </a:cxn>
                <a:cxn ang="0">
                  <a:pos x="11" y="1"/>
                </a:cxn>
                <a:cxn ang="0">
                  <a:pos x="11" y="1"/>
                </a:cxn>
                <a:cxn ang="0">
                  <a:pos x="10" y="5"/>
                </a:cxn>
                <a:cxn ang="0">
                  <a:pos x="9" y="7"/>
                </a:cxn>
                <a:cxn ang="0">
                  <a:pos x="7" y="7"/>
                </a:cxn>
                <a:cxn ang="0">
                  <a:pos x="5" y="7"/>
                </a:cxn>
                <a:cxn ang="0">
                  <a:pos x="5" y="8"/>
                </a:cxn>
                <a:cxn ang="0">
                  <a:pos x="5" y="10"/>
                </a:cxn>
              </a:cxnLst>
              <a:rect l="0" t="0" r="r" b="b"/>
              <a:pathLst>
                <a:path w="29" h="39">
                  <a:moveTo>
                    <a:pt x="5" y="10"/>
                  </a:moveTo>
                  <a:cubicBezTo>
                    <a:pt x="4" y="12"/>
                    <a:pt x="4" y="12"/>
                    <a:pt x="4" y="12"/>
                  </a:cubicBezTo>
                  <a:cubicBezTo>
                    <a:pt x="4" y="15"/>
                    <a:pt x="4" y="15"/>
                    <a:pt x="4" y="15"/>
                  </a:cubicBezTo>
                  <a:cubicBezTo>
                    <a:pt x="2" y="17"/>
                    <a:pt x="2" y="17"/>
                    <a:pt x="2" y="17"/>
                  </a:cubicBezTo>
                  <a:cubicBezTo>
                    <a:pt x="2" y="20"/>
                    <a:pt x="2" y="20"/>
                    <a:pt x="2" y="20"/>
                  </a:cubicBezTo>
                  <a:cubicBezTo>
                    <a:pt x="1" y="22"/>
                    <a:pt x="1" y="22"/>
                    <a:pt x="1" y="22"/>
                  </a:cubicBezTo>
                  <a:cubicBezTo>
                    <a:pt x="1" y="22"/>
                    <a:pt x="1" y="22"/>
                    <a:pt x="1" y="22"/>
                  </a:cubicBezTo>
                  <a:cubicBezTo>
                    <a:pt x="2" y="24"/>
                    <a:pt x="2" y="24"/>
                    <a:pt x="2" y="24"/>
                  </a:cubicBezTo>
                  <a:cubicBezTo>
                    <a:pt x="1" y="26"/>
                    <a:pt x="1" y="26"/>
                    <a:pt x="1" y="26"/>
                  </a:cubicBezTo>
                  <a:cubicBezTo>
                    <a:pt x="0" y="28"/>
                    <a:pt x="0" y="28"/>
                    <a:pt x="0" y="28"/>
                  </a:cubicBezTo>
                  <a:cubicBezTo>
                    <a:pt x="3" y="29"/>
                    <a:pt x="3" y="29"/>
                    <a:pt x="3" y="29"/>
                  </a:cubicBezTo>
                  <a:cubicBezTo>
                    <a:pt x="5" y="30"/>
                    <a:pt x="5" y="30"/>
                    <a:pt x="5" y="30"/>
                  </a:cubicBezTo>
                  <a:cubicBezTo>
                    <a:pt x="8" y="31"/>
                    <a:pt x="8" y="31"/>
                    <a:pt x="8" y="31"/>
                  </a:cubicBezTo>
                  <a:cubicBezTo>
                    <a:pt x="6" y="33"/>
                    <a:pt x="6" y="33"/>
                    <a:pt x="6" y="33"/>
                  </a:cubicBezTo>
                  <a:cubicBezTo>
                    <a:pt x="6" y="37"/>
                    <a:pt x="6" y="37"/>
                    <a:pt x="6" y="37"/>
                  </a:cubicBezTo>
                  <a:cubicBezTo>
                    <a:pt x="7" y="38"/>
                    <a:pt x="7" y="38"/>
                    <a:pt x="7" y="38"/>
                  </a:cubicBezTo>
                  <a:cubicBezTo>
                    <a:pt x="10" y="37"/>
                    <a:pt x="10" y="37"/>
                    <a:pt x="10" y="37"/>
                  </a:cubicBezTo>
                  <a:cubicBezTo>
                    <a:pt x="12" y="38"/>
                    <a:pt x="12" y="38"/>
                    <a:pt x="12" y="38"/>
                  </a:cubicBezTo>
                  <a:cubicBezTo>
                    <a:pt x="13" y="38"/>
                    <a:pt x="13" y="38"/>
                    <a:pt x="13" y="38"/>
                  </a:cubicBezTo>
                  <a:cubicBezTo>
                    <a:pt x="13" y="38"/>
                    <a:pt x="14" y="38"/>
                    <a:pt x="14" y="38"/>
                  </a:cubicBezTo>
                  <a:cubicBezTo>
                    <a:pt x="14" y="39"/>
                    <a:pt x="16" y="38"/>
                    <a:pt x="16" y="38"/>
                  </a:cubicBezTo>
                  <a:cubicBezTo>
                    <a:pt x="18" y="38"/>
                    <a:pt x="18" y="38"/>
                    <a:pt x="18" y="38"/>
                  </a:cubicBezTo>
                  <a:cubicBezTo>
                    <a:pt x="22" y="37"/>
                    <a:pt x="22" y="37"/>
                    <a:pt x="22" y="37"/>
                  </a:cubicBezTo>
                  <a:cubicBezTo>
                    <a:pt x="22" y="37"/>
                    <a:pt x="23" y="37"/>
                    <a:pt x="23" y="37"/>
                  </a:cubicBezTo>
                  <a:cubicBezTo>
                    <a:pt x="24" y="37"/>
                    <a:pt x="24" y="36"/>
                    <a:pt x="24" y="36"/>
                  </a:cubicBezTo>
                  <a:cubicBezTo>
                    <a:pt x="23" y="34"/>
                    <a:pt x="23" y="34"/>
                    <a:pt x="23" y="34"/>
                  </a:cubicBezTo>
                  <a:cubicBezTo>
                    <a:pt x="25" y="33"/>
                    <a:pt x="25" y="33"/>
                    <a:pt x="25" y="33"/>
                  </a:cubicBezTo>
                  <a:cubicBezTo>
                    <a:pt x="26" y="32"/>
                    <a:pt x="26" y="32"/>
                    <a:pt x="26" y="32"/>
                  </a:cubicBezTo>
                  <a:cubicBezTo>
                    <a:pt x="26" y="32"/>
                    <a:pt x="26" y="32"/>
                    <a:pt x="26" y="32"/>
                  </a:cubicBezTo>
                  <a:cubicBezTo>
                    <a:pt x="25" y="31"/>
                    <a:pt x="25" y="31"/>
                    <a:pt x="25" y="31"/>
                  </a:cubicBezTo>
                  <a:cubicBezTo>
                    <a:pt x="23" y="28"/>
                    <a:pt x="23" y="28"/>
                    <a:pt x="23" y="28"/>
                  </a:cubicBezTo>
                  <a:cubicBezTo>
                    <a:pt x="21" y="26"/>
                    <a:pt x="21" y="26"/>
                    <a:pt x="21" y="26"/>
                  </a:cubicBezTo>
                  <a:cubicBezTo>
                    <a:pt x="20" y="25"/>
                    <a:pt x="20" y="25"/>
                    <a:pt x="20" y="25"/>
                  </a:cubicBezTo>
                  <a:cubicBezTo>
                    <a:pt x="22" y="24"/>
                    <a:pt x="22" y="24"/>
                    <a:pt x="22" y="24"/>
                  </a:cubicBezTo>
                  <a:cubicBezTo>
                    <a:pt x="24" y="23"/>
                    <a:pt x="24" y="23"/>
                    <a:pt x="24" y="23"/>
                  </a:cubicBezTo>
                  <a:cubicBezTo>
                    <a:pt x="26" y="22"/>
                    <a:pt x="26" y="22"/>
                    <a:pt x="26" y="22"/>
                  </a:cubicBezTo>
                  <a:cubicBezTo>
                    <a:pt x="27" y="21"/>
                    <a:pt x="27" y="21"/>
                    <a:pt x="27" y="21"/>
                  </a:cubicBezTo>
                  <a:cubicBezTo>
                    <a:pt x="29" y="22"/>
                    <a:pt x="29" y="22"/>
                    <a:pt x="29" y="22"/>
                  </a:cubicBezTo>
                  <a:cubicBezTo>
                    <a:pt x="29" y="22"/>
                    <a:pt x="29" y="21"/>
                    <a:pt x="29" y="21"/>
                  </a:cubicBezTo>
                  <a:cubicBezTo>
                    <a:pt x="29" y="20"/>
                    <a:pt x="29" y="18"/>
                    <a:pt x="29" y="18"/>
                  </a:cubicBezTo>
                  <a:cubicBezTo>
                    <a:pt x="28" y="18"/>
                    <a:pt x="28" y="14"/>
                    <a:pt x="28" y="14"/>
                  </a:cubicBezTo>
                  <a:cubicBezTo>
                    <a:pt x="28" y="11"/>
                    <a:pt x="28" y="11"/>
                    <a:pt x="28" y="11"/>
                  </a:cubicBezTo>
                  <a:cubicBezTo>
                    <a:pt x="28" y="10"/>
                    <a:pt x="28" y="10"/>
                    <a:pt x="28" y="10"/>
                  </a:cubicBezTo>
                  <a:cubicBezTo>
                    <a:pt x="27" y="7"/>
                    <a:pt x="27" y="7"/>
                    <a:pt x="27" y="7"/>
                  </a:cubicBezTo>
                  <a:cubicBezTo>
                    <a:pt x="27" y="5"/>
                    <a:pt x="27" y="5"/>
                    <a:pt x="27" y="5"/>
                  </a:cubicBezTo>
                  <a:cubicBezTo>
                    <a:pt x="23" y="3"/>
                    <a:pt x="23" y="3"/>
                    <a:pt x="23" y="3"/>
                  </a:cubicBezTo>
                  <a:cubicBezTo>
                    <a:pt x="19" y="5"/>
                    <a:pt x="19" y="5"/>
                    <a:pt x="19" y="5"/>
                  </a:cubicBezTo>
                  <a:cubicBezTo>
                    <a:pt x="19" y="5"/>
                    <a:pt x="18" y="5"/>
                    <a:pt x="17" y="4"/>
                  </a:cubicBezTo>
                  <a:cubicBezTo>
                    <a:pt x="17" y="4"/>
                    <a:pt x="17" y="2"/>
                    <a:pt x="17" y="2"/>
                  </a:cubicBezTo>
                  <a:cubicBezTo>
                    <a:pt x="14" y="1"/>
                    <a:pt x="14" y="1"/>
                    <a:pt x="14" y="1"/>
                  </a:cubicBezTo>
                  <a:cubicBezTo>
                    <a:pt x="14" y="1"/>
                    <a:pt x="14" y="1"/>
                    <a:pt x="14" y="1"/>
                  </a:cubicBezTo>
                  <a:cubicBezTo>
                    <a:pt x="12" y="0"/>
                    <a:pt x="12" y="0"/>
                    <a:pt x="12" y="0"/>
                  </a:cubicBezTo>
                  <a:cubicBezTo>
                    <a:pt x="11" y="1"/>
                    <a:pt x="11" y="1"/>
                    <a:pt x="11" y="1"/>
                  </a:cubicBezTo>
                  <a:cubicBezTo>
                    <a:pt x="11" y="1"/>
                    <a:pt x="11" y="1"/>
                    <a:pt x="11" y="1"/>
                  </a:cubicBezTo>
                  <a:cubicBezTo>
                    <a:pt x="10" y="5"/>
                    <a:pt x="10" y="5"/>
                    <a:pt x="10" y="5"/>
                  </a:cubicBezTo>
                  <a:cubicBezTo>
                    <a:pt x="9" y="7"/>
                    <a:pt x="9" y="7"/>
                    <a:pt x="9" y="7"/>
                  </a:cubicBezTo>
                  <a:cubicBezTo>
                    <a:pt x="7" y="7"/>
                    <a:pt x="7" y="7"/>
                    <a:pt x="7" y="7"/>
                  </a:cubicBezTo>
                  <a:cubicBezTo>
                    <a:pt x="5" y="7"/>
                    <a:pt x="5" y="7"/>
                    <a:pt x="5" y="7"/>
                  </a:cubicBezTo>
                  <a:cubicBezTo>
                    <a:pt x="5" y="8"/>
                    <a:pt x="5" y="8"/>
                    <a:pt x="5" y="8"/>
                  </a:cubicBezTo>
                  <a:lnTo>
                    <a:pt x="5" y="1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2" name="Freeform 345"/>
            <p:cNvSpPr>
              <a:spLocks/>
            </p:cNvSpPr>
            <p:nvPr/>
          </p:nvSpPr>
          <p:spPr bwMode="auto">
            <a:xfrm>
              <a:off x="4591050" y="2685727"/>
              <a:ext cx="87313" cy="115888"/>
            </a:xfrm>
            <a:custGeom>
              <a:avLst/>
              <a:gdLst/>
              <a:ahLst/>
              <a:cxnLst>
                <a:cxn ang="0">
                  <a:pos x="18" y="72"/>
                </a:cxn>
                <a:cxn ang="0">
                  <a:pos x="30" y="78"/>
                </a:cxn>
                <a:cxn ang="0">
                  <a:pos x="36" y="84"/>
                </a:cxn>
                <a:cxn ang="0">
                  <a:pos x="42" y="90"/>
                </a:cxn>
                <a:cxn ang="0">
                  <a:pos x="48" y="78"/>
                </a:cxn>
                <a:cxn ang="0">
                  <a:pos x="48" y="60"/>
                </a:cxn>
                <a:cxn ang="0">
                  <a:pos x="60" y="48"/>
                </a:cxn>
                <a:cxn ang="0">
                  <a:pos x="60" y="30"/>
                </a:cxn>
                <a:cxn ang="0">
                  <a:pos x="66" y="18"/>
                </a:cxn>
                <a:cxn ang="0">
                  <a:pos x="66" y="6"/>
                </a:cxn>
                <a:cxn ang="0">
                  <a:pos x="66" y="0"/>
                </a:cxn>
                <a:cxn ang="0">
                  <a:pos x="54" y="6"/>
                </a:cxn>
                <a:cxn ang="0">
                  <a:pos x="36" y="12"/>
                </a:cxn>
                <a:cxn ang="0">
                  <a:pos x="36" y="30"/>
                </a:cxn>
                <a:cxn ang="0">
                  <a:pos x="24" y="18"/>
                </a:cxn>
                <a:cxn ang="0">
                  <a:pos x="12" y="54"/>
                </a:cxn>
                <a:cxn ang="0">
                  <a:pos x="0" y="66"/>
                </a:cxn>
                <a:cxn ang="0">
                  <a:pos x="6" y="72"/>
                </a:cxn>
                <a:cxn ang="0">
                  <a:pos x="18" y="72"/>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3" name="Freeform 346"/>
            <p:cNvSpPr>
              <a:spLocks/>
            </p:cNvSpPr>
            <p:nvPr/>
          </p:nvSpPr>
          <p:spPr bwMode="auto">
            <a:xfrm>
              <a:off x="4999038" y="3131815"/>
              <a:ext cx="157162" cy="153987"/>
            </a:xfrm>
            <a:custGeom>
              <a:avLst/>
              <a:gdLst/>
              <a:ahLst/>
              <a:cxnLst>
                <a:cxn ang="0">
                  <a:pos x="120" y="6"/>
                </a:cxn>
                <a:cxn ang="0">
                  <a:pos x="120" y="0"/>
                </a:cxn>
                <a:cxn ang="0">
                  <a:pos x="114" y="6"/>
                </a:cxn>
                <a:cxn ang="0">
                  <a:pos x="96" y="6"/>
                </a:cxn>
                <a:cxn ang="0">
                  <a:pos x="60" y="6"/>
                </a:cxn>
                <a:cxn ang="0">
                  <a:pos x="60" y="6"/>
                </a:cxn>
                <a:cxn ang="0">
                  <a:pos x="42" y="12"/>
                </a:cxn>
                <a:cxn ang="0">
                  <a:pos x="18" y="18"/>
                </a:cxn>
                <a:cxn ang="0">
                  <a:pos x="18" y="24"/>
                </a:cxn>
                <a:cxn ang="0">
                  <a:pos x="12" y="36"/>
                </a:cxn>
                <a:cxn ang="0">
                  <a:pos x="0" y="48"/>
                </a:cxn>
                <a:cxn ang="0">
                  <a:pos x="12" y="66"/>
                </a:cxn>
                <a:cxn ang="0">
                  <a:pos x="36" y="72"/>
                </a:cxn>
                <a:cxn ang="0">
                  <a:pos x="24" y="84"/>
                </a:cxn>
                <a:cxn ang="0">
                  <a:pos x="24" y="108"/>
                </a:cxn>
                <a:cxn ang="0">
                  <a:pos x="48" y="120"/>
                </a:cxn>
                <a:cxn ang="0">
                  <a:pos x="60" y="108"/>
                </a:cxn>
                <a:cxn ang="0">
                  <a:pos x="60" y="96"/>
                </a:cxn>
                <a:cxn ang="0">
                  <a:pos x="84" y="84"/>
                </a:cxn>
                <a:cxn ang="0">
                  <a:pos x="60" y="60"/>
                </a:cxn>
                <a:cxn ang="0">
                  <a:pos x="60" y="48"/>
                </a:cxn>
                <a:cxn ang="0">
                  <a:pos x="48" y="30"/>
                </a:cxn>
                <a:cxn ang="0">
                  <a:pos x="84" y="24"/>
                </a:cxn>
                <a:cxn ang="0">
                  <a:pos x="108" y="18"/>
                </a:cxn>
                <a:cxn ang="0">
                  <a:pos x="108" y="24"/>
                </a:cxn>
                <a:cxn ang="0">
                  <a:pos x="114" y="18"/>
                </a:cxn>
                <a:cxn ang="0">
                  <a:pos x="120" y="6"/>
                </a:cxn>
              </a:cxnLst>
              <a:rect l="0" t="0" r="r" b="b"/>
              <a:pathLst>
                <a:path w="120" h="120">
                  <a:moveTo>
                    <a:pt x="120" y="6"/>
                  </a:moveTo>
                  <a:lnTo>
                    <a:pt x="120" y="0"/>
                  </a:lnTo>
                  <a:lnTo>
                    <a:pt x="114" y="6"/>
                  </a:lnTo>
                  <a:lnTo>
                    <a:pt x="96" y="6"/>
                  </a:lnTo>
                  <a:lnTo>
                    <a:pt x="60" y="6"/>
                  </a:lnTo>
                  <a:lnTo>
                    <a:pt x="60" y="6"/>
                  </a:lnTo>
                  <a:lnTo>
                    <a:pt x="42" y="12"/>
                  </a:lnTo>
                  <a:lnTo>
                    <a:pt x="18" y="18"/>
                  </a:lnTo>
                  <a:lnTo>
                    <a:pt x="18" y="24"/>
                  </a:lnTo>
                  <a:lnTo>
                    <a:pt x="12" y="36"/>
                  </a:lnTo>
                  <a:lnTo>
                    <a:pt x="0" y="48"/>
                  </a:lnTo>
                  <a:lnTo>
                    <a:pt x="12" y="66"/>
                  </a:lnTo>
                  <a:lnTo>
                    <a:pt x="36" y="72"/>
                  </a:lnTo>
                  <a:lnTo>
                    <a:pt x="24" y="84"/>
                  </a:lnTo>
                  <a:lnTo>
                    <a:pt x="24" y="108"/>
                  </a:lnTo>
                  <a:lnTo>
                    <a:pt x="48" y="120"/>
                  </a:lnTo>
                  <a:lnTo>
                    <a:pt x="60" y="108"/>
                  </a:lnTo>
                  <a:lnTo>
                    <a:pt x="60" y="96"/>
                  </a:lnTo>
                  <a:lnTo>
                    <a:pt x="84" y="84"/>
                  </a:lnTo>
                  <a:lnTo>
                    <a:pt x="60" y="60"/>
                  </a:lnTo>
                  <a:lnTo>
                    <a:pt x="60" y="48"/>
                  </a:lnTo>
                  <a:lnTo>
                    <a:pt x="48" y="30"/>
                  </a:lnTo>
                  <a:lnTo>
                    <a:pt x="84" y="24"/>
                  </a:lnTo>
                  <a:lnTo>
                    <a:pt x="108" y="18"/>
                  </a:lnTo>
                  <a:lnTo>
                    <a:pt x="108" y="24"/>
                  </a:lnTo>
                  <a:lnTo>
                    <a:pt x="114" y="18"/>
                  </a:lnTo>
                  <a:lnTo>
                    <a:pt x="120"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4" name="Freeform 347"/>
            <p:cNvSpPr>
              <a:spLocks/>
            </p:cNvSpPr>
            <p:nvPr/>
          </p:nvSpPr>
          <p:spPr bwMode="auto">
            <a:xfrm>
              <a:off x="4616450" y="1725290"/>
              <a:ext cx="649288" cy="766762"/>
            </a:xfrm>
            <a:custGeom>
              <a:avLst/>
              <a:gdLst/>
              <a:ahLst/>
              <a:cxnLst>
                <a:cxn ang="0">
                  <a:pos x="24" y="86"/>
                </a:cxn>
                <a:cxn ang="0">
                  <a:pos x="24" y="80"/>
                </a:cxn>
                <a:cxn ang="0">
                  <a:pos x="24" y="75"/>
                </a:cxn>
                <a:cxn ang="0">
                  <a:pos x="24" y="65"/>
                </a:cxn>
                <a:cxn ang="0">
                  <a:pos x="26" y="60"/>
                </a:cxn>
                <a:cxn ang="0">
                  <a:pos x="30" y="56"/>
                </a:cxn>
                <a:cxn ang="0">
                  <a:pos x="31" y="50"/>
                </a:cxn>
                <a:cxn ang="0">
                  <a:pos x="34" y="43"/>
                </a:cxn>
                <a:cxn ang="0">
                  <a:pos x="38" y="35"/>
                </a:cxn>
                <a:cxn ang="0">
                  <a:pos x="38" y="30"/>
                </a:cxn>
                <a:cxn ang="0">
                  <a:pos x="42" y="28"/>
                </a:cxn>
                <a:cxn ang="0">
                  <a:pos x="47" y="24"/>
                </a:cxn>
                <a:cxn ang="0">
                  <a:pos x="49" y="22"/>
                </a:cxn>
                <a:cxn ang="0">
                  <a:pos x="51" y="19"/>
                </a:cxn>
                <a:cxn ang="0">
                  <a:pos x="53" y="17"/>
                </a:cxn>
                <a:cxn ang="0">
                  <a:pos x="56" y="21"/>
                </a:cxn>
                <a:cxn ang="0">
                  <a:pos x="62" y="21"/>
                </a:cxn>
                <a:cxn ang="0">
                  <a:pos x="66" y="19"/>
                </a:cxn>
                <a:cxn ang="0">
                  <a:pos x="70" y="12"/>
                </a:cxn>
                <a:cxn ang="0">
                  <a:pos x="78" y="14"/>
                </a:cxn>
                <a:cxn ang="0">
                  <a:pos x="77" y="19"/>
                </a:cxn>
                <a:cxn ang="0">
                  <a:pos x="77" y="19"/>
                </a:cxn>
                <a:cxn ang="0">
                  <a:pos x="81" y="15"/>
                </a:cxn>
                <a:cxn ang="0">
                  <a:pos x="81" y="12"/>
                </a:cxn>
                <a:cxn ang="0">
                  <a:pos x="83" y="6"/>
                </a:cxn>
                <a:cxn ang="0">
                  <a:pos x="76" y="0"/>
                </a:cxn>
                <a:cxn ang="0">
                  <a:pos x="69" y="2"/>
                </a:cxn>
                <a:cxn ang="0">
                  <a:pos x="66" y="1"/>
                </a:cxn>
                <a:cxn ang="0">
                  <a:pos x="59" y="5"/>
                </a:cxn>
                <a:cxn ang="0">
                  <a:pos x="55" y="6"/>
                </a:cxn>
                <a:cxn ang="0">
                  <a:pos x="50" y="8"/>
                </a:cxn>
                <a:cxn ang="0">
                  <a:pos x="43" y="14"/>
                </a:cxn>
                <a:cxn ang="0">
                  <a:pos x="40" y="22"/>
                </a:cxn>
                <a:cxn ang="0">
                  <a:pos x="32" y="28"/>
                </a:cxn>
                <a:cxn ang="0">
                  <a:pos x="28" y="38"/>
                </a:cxn>
                <a:cxn ang="0">
                  <a:pos x="25" y="46"/>
                </a:cxn>
                <a:cxn ang="0">
                  <a:pos x="17" y="60"/>
                </a:cxn>
                <a:cxn ang="0">
                  <a:pos x="8" y="65"/>
                </a:cxn>
                <a:cxn ang="0">
                  <a:pos x="4" y="71"/>
                </a:cxn>
                <a:cxn ang="0">
                  <a:pos x="2" y="76"/>
                </a:cxn>
                <a:cxn ang="0">
                  <a:pos x="1" y="84"/>
                </a:cxn>
                <a:cxn ang="0">
                  <a:pos x="3" y="91"/>
                </a:cxn>
                <a:cxn ang="0">
                  <a:pos x="7" y="98"/>
                </a:cxn>
                <a:cxn ang="0">
                  <a:pos x="16" y="93"/>
                </a:cxn>
                <a:cxn ang="0">
                  <a:pos x="20" y="92"/>
                </a:cxn>
                <a:cxn ang="0">
                  <a:pos x="21" y="92"/>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5" name="Freeform 348"/>
            <p:cNvSpPr>
              <a:spLocks/>
            </p:cNvSpPr>
            <p:nvPr/>
          </p:nvSpPr>
          <p:spPr bwMode="auto">
            <a:xfrm>
              <a:off x="4772025" y="1874515"/>
              <a:ext cx="320675" cy="741362"/>
            </a:xfrm>
            <a:custGeom>
              <a:avLst/>
              <a:gdLst/>
              <a:ahLst/>
              <a:cxnLst>
                <a:cxn ang="0">
                  <a:pos x="41" y="21"/>
                </a:cxn>
                <a:cxn ang="0">
                  <a:pos x="40" y="15"/>
                </a:cxn>
                <a:cxn ang="0">
                  <a:pos x="38" y="6"/>
                </a:cxn>
                <a:cxn ang="0">
                  <a:pos x="35" y="5"/>
                </a:cxn>
                <a:cxn ang="0">
                  <a:pos x="31" y="0"/>
                </a:cxn>
                <a:cxn ang="0">
                  <a:pos x="29" y="3"/>
                </a:cxn>
                <a:cxn ang="0">
                  <a:pos x="27" y="5"/>
                </a:cxn>
                <a:cxn ang="0">
                  <a:pos x="22" y="9"/>
                </a:cxn>
                <a:cxn ang="0">
                  <a:pos x="18" y="11"/>
                </a:cxn>
                <a:cxn ang="0">
                  <a:pos x="18" y="16"/>
                </a:cxn>
                <a:cxn ang="0">
                  <a:pos x="14" y="24"/>
                </a:cxn>
                <a:cxn ang="0">
                  <a:pos x="11" y="31"/>
                </a:cxn>
                <a:cxn ang="0">
                  <a:pos x="10" y="37"/>
                </a:cxn>
                <a:cxn ang="0">
                  <a:pos x="6" y="41"/>
                </a:cxn>
                <a:cxn ang="0">
                  <a:pos x="4" y="46"/>
                </a:cxn>
                <a:cxn ang="0">
                  <a:pos x="4" y="56"/>
                </a:cxn>
                <a:cxn ang="0">
                  <a:pos x="4" y="61"/>
                </a:cxn>
                <a:cxn ang="0">
                  <a:pos x="4" y="67"/>
                </a:cxn>
                <a:cxn ang="0">
                  <a:pos x="1" y="73"/>
                </a:cxn>
                <a:cxn ang="0">
                  <a:pos x="2" y="79"/>
                </a:cxn>
                <a:cxn ang="0">
                  <a:pos x="5" y="88"/>
                </a:cxn>
                <a:cxn ang="0">
                  <a:pos x="6" y="93"/>
                </a:cxn>
                <a:cxn ang="0">
                  <a:pos x="10" y="94"/>
                </a:cxn>
                <a:cxn ang="0">
                  <a:pos x="13" y="90"/>
                </a:cxn>
                <a:cxn ang="0">
                  <a:pos x="18" y="86"/>
                </a:cxn>
                <a:cxn ang="0">
                  <a:pos x="19" y="75"/>
                </a:cxn>
                <a:cxn ang="0">
                  <a:pos x="24" y="73"/>
                </a:cxn>
                <a:cxn ang="0">
                  <a:pos x="23" y="65"/>
                </a:cxn>
                <a:cxn ang="0">
                  <a:pos x="21" y="56"/>
                </a:cxn>
                <a:cxn ang="0">
                  <a:pos x="24" y="46"/>
                </a:cxn>
                <a:cxn ang="0">
                  <a:pos x="33" y="40"/>
                </a:cxn>
                <a:cxn ang="0">
                  <a:pos x="33" y="34"/>
                </a:cxn>
                <a:cxn ang="0">
                  <a:pos x="38" y="27"/>
                </a:cxn>
                <a:cxn ang="0">
                  <a:pos x="41" y="27"/>
                </a:cxn>
              </a:cxnLst>
              <a:rect l="0" t="0" r="r" b="b"/>
              <a:pathLst>
                <a:path w="41" h="95">
                  <a:moveTo>
                    <a:pt x="41" y="22"/>
                  </a:moveTo>
                  <a:cubicBezTo>
                    <a:pt x="41" y="21"/>
                    <a:pt x="41" y="21"/>
                    <a:pt x="41" y="21"/>
                  </a:cubicBezTo>
                  <a:cubicBezTo>
                    <a:pt x="40" y="18"/>
                    <a:pt x="40" y="18"/>
                    <a:pt x="40" y="18"/>
                  </a:cubicBezTo>
                  <a:cubicBezTo>
                    <a:pt x="40" y="15"/>
                    <a:pt x="40" y="15"/>
                    <a:pt x="40" y="15"/>
                  </a:cubicBezTo>
                  <a:cubicBezTo>
                    <a:pt x="40" y="11"/>
                    <a:pt x="40" y="11"/>
                    <a:pt x="40" y="11"/>
                  </a:cubicBezTo>
                  <a:cubicBezTo>
                    <a:pt x="38" y="6"/>
                    <a:pt x="38" y="6"/>
                    <a:pt x="38" y="6"/>
                  </a:cubicBezTo>
                  <a:cubicBezTo>
                    <a:pt x="37" y="6"/>
                    <a:pt x="37" y="6"/>
                    <a:pt x="37" y="6"/>
                  </a:cubicBezTo>
                  <a:cubicBezTo>
                    <a:pt x="35" y="5"/>
                    <a:pt x="35" y="5"/>
                    <a:pt x="35" y="5"/>
                  </a:cubicBezTo>
                  <a:cubicBezTo>
                    <a:pt x="32" y="2"/>
                    <a:pt x="32" y="2"/>
                    <a:pt x="32" y="2"/>
                  </a:cubicBezTo>
                  <a:cubicBezTo>
                    <a:pt x="31" y="0"/>
                    <a:pt x="31" y="0"/>
                    <a:pt x="31" y="0"/>
                  </a:cubicBezTo>
                  <a:cubicBezTo>
                    <a:pt x="30" y="0"/>
                    <a:pt x="30" y="0"/>
                    <a:pt x="30" y="0"/>
                  </a:cubicBezTo>
                  <a:cubicBezTo>
                    <a:pt x="29" y="3"/>
                    <a:pt x="29" y="3"/>
                    <a:pt x="29" y="3"/>
                  </a:cubicBezTo>
                  <a:cubicBezTo>
                    <a:pt x="29" y="5"/>
                    <a:pt x="29" y="5"/>
                    <a:pt x="29" y="5"/>
                  </a:cubicBezTo>
                  <a:cubicBezTo>
                    <a:pt x="27" y="5"/>
                    <a:pt x="27" y="5"/>
                    <a:pt x="27" y="5"/>
                  </a:cubicBezTo>
                  <a:cubicBezTo>
                    <a:pt x="24" y="5"/>
                    <a:pt x="24" y="5"/>
                    <a:pt x="24" y="5"/>
                  </a:cubicBezTo>
                  <a:cubicBezTo>
                    <a:pt x="22" y="9"/>
                    <a:pt x="22" y="9"/>
                    <a:pt x="22" y="9"/>
                  </a:cubicBezTo>
                  <a:cubicBezTo>
                    <a:pt x="21" y="9"/>
                    <a:pt x="21" y="9"/>
                    <a:pt x="21" y="9"/>
                  </a:cubicBezTo>
                  <a:cubicBezTo>
                    <a:pt x="18" y="11"/>
                    <a:pt x="18" y="11"/>
                    <a:pt x="18" y="11"/>
                  </a:cubicBezTo>
                  <a:cubicBezTo>
                    <a:pt x="17" y="13"/>
                    <a:pt x="17" y="13"/>
                    <a:pt x="17" y="13"/>
                  </a:cubicBezTo>
                  <a:cubicBezTo>
                    <a:pt x="18" y="16"/>
                    <a:pt x="18" y="16"/>
                    <a:pt x="18" y="16"/>
                  </a:cubicBezTo>
                  <a:cubicBezTo>
                    <a:pt x="16" y="19"/>
                    <a:pt x="16" y="19"/>
                    <a:pt x="16" y="19"/>
                  </a:cubicBezTo>
                  <a:cubicBezTo>
                    <a:pt x="14" y="24"/>
                    <a:pt x="14" y="24"/>
                    <a:pt x="14" y="24"/>
                  </a:cubicBezTo>
                  <a:cubicBezTo>
                    <a:pt x="12" y="25"/>
                    <a:pt x="12" y="25"/>
                    <a:pt x="12" y="25"/>
                  </a:cubicBezTo>
                  <a:cubicBezTo>
                    <a:pt x="11" y="31"/>
                    <a:pt x="11" y="31"/>
                    <a:pt x="11" y="31"/>
                  </a:cubicBezTo>
                  <a:cubicBezTo>
                    <a:pt x="9" y="35"/>
                    <a:pt x="9" y="35"/>
                    <a:pt x="9" y="35"/>
                  </a:cubicBezTo>
                  <a:cubicBezTo>
                    <a:pt x="10" y="37"/>
                    <a:pt x="10" y="37"/>
                    <a:pt x="10" y="37"/>
                  </a:cubicBezTo>
                  <a:cubicBezTo>
                    <a:pt x="10" y="40"/>
                    <a:pt x="10" y="40"/>
                    <a:pt x="10" y="40"/>
                  </a:cubicBezTo>
                  <a:cubicBezTo>
                    <a:pt x="6" y="41"/>
                    <a:pt x="6" y="41"/>
                    <a:pt x="6" y="41"/>
                  </a:cubicBezTo>
                  <a:cubicBezTo>
                    <a:pt x="4" y="43"/>
                    <a:pt x="4" y="43"/>
                    <a:pt x="4" y="43"/>
                  </a:cubicBezTo>
                  <a:cubicBezTo>
                    <a:pt x="4" y="43"/>
                    <a:pt x="4" y="46"/>
                    <a:pt x="4" y="46"/>
                  </a:cubicBezTo>
                  <a:cubicBezTo>
                    <a:pt x="4" y="46"/>
                    <a:pt x="3" y="50"/>
                    <a:pt x="3" y="51"/>
                  </a:cubicBezTo>
                  <a:cubicBezTo>
                    <a:pt x="3" y="51"/>
                    <a:pt x="4" y="56"/>
                    <a:pt x="4" y="56"/>
                  </a:cubicBezTo>
                  <a:cubicBezTo>
                    <a:pt x="6" y="59"/>
                    <a:pt x="6" y="59"/>
                    <a:pt x="6" y="59"/>
                  </a:cubicBezTo>
                  <a:cubicBezTo>
                    <a:pt x="4" y="61"/>
                    <a:pt x="4" y="61"/>
                    <a:pt x="4" y="61"/>
                  </a:cubicBezTo>
                  <a:cubicBezTo>
                    <a:pt x="4" y="63"/>
                    <a:pt x="4" y="63"/>
                    <a:pt x="4" y="63"/>
                  </a:cubicBezTo>
                  <a:cubicBezTo>
                    <a:pt x="4" y="63"/>
                    <a:pt x="4" y="67"/>
                    <a:pt x="4" y="67"/>
                  </a:cubicBezTo>
                  <a:cubicBezTo>
                    <a:pt x="4" y="68"/>
                    <a:pt x="3" y="68"/>
                    <a:pt x="3" y="68"/>
                  </a:cubicBezTo>
                  <a:cubicBezTo>
                    <a:pt x="1" y="73"/>
                    <a:pt x="1" y="73"/>
                    <a:pt x="1" y="73"/>
                  </a:cubicBezTo>
                  <a:cubicBezTo>
                    <a:pt x="0" y="74"/>
                    <a:pt x="0" y="74"/>
                    <a:pt x="0" y="74"/>
                  </a:cubicBezTo>
                  <a:cubicBezTo>
                    <a:pt x="2" y="79"/>
                    <a:pt x="2" y="79"/>
                    <a:pt x="2" y="79"/>
                  </a:cubicBezTo>
                  <a:cubicBezTo>
                    <a:pt x="3" y="83"/>
                    <a:pt x="3" y="83"/>
                    <a:pt x="3" y="83"/>
                  </a:cubicBezTo>
                  <a:cubicBezTo>
                    <a:pt x="5" y="88"/>
                    <a:pt x="5" y="88"/>
                    <a:pt x="5" y="88"/>
                  </a:cubicBezTo>
                  <a:cubicBezTo>
                    <a:pt x="5" y="90"/>
                    <a:pt x="5" y="90"/>
                    <a:pt x="5" y="90"/>
                  </a:cubicBezTo>
                  <a:cubicBezTo>
                    <a:pt x="6" y="93"/>
                    <a:pt x="6" y="93"/>
                    <a:pt x="6" y="93"/>
                  </a:cubicBezTo>
                  <a:cubicBezTo>
                    <a:pt x="7" y="95"/>
                    <a:pt x="7" y="95"/>
                    <a:pt x="7" y="95"/>
                  </a:cubicBezTo>
                  <a:cubicBezTo>
                    <a:pt x="10" y="94"/>
                    <a:pt x="10" y="94"/>
                    <a:pt x="10" y="94"/>
                  </a:cubicBezTo>
                  <a:cubicBezTo>
                    <a:pt x="11" y="92"/>
                    <a:pt x="11" y="92"/>
                    <a:pt x="11" y="92"/>
                  </a:cubicBezTo>
                  <a:cubicBezTo>
                    <a:pt x="13" y="90"/>
                    <a:pt x="13" y="90"/>
                    <a:pt x="13" y="90"/>
                  </a:cubicBezTo>
                  <a:cubicBezTo>
                    <a:pt x="16" y="90"/>
                    <a:pt x="16" y="90"/>
                    <a:pt x="16" y="90"/>
                  </a:cubicBezTo>
                  <a:cubicBezTo>
                    <a:pt x="18" y="86"/>
                    <a:pt x="18" y="86"/>
                    <a:pt x="18" y="86"/>
                  </a:cubicBezTo>
                  <a:cubicBezTo>
                    <a:pt x="19" y="79"/>
                    <a:pt x="19" y="79"/>
                    <a:pt x="19" y="79"/>
                  </a:cubicBezTo>
                  <a:cubicBezTo>
                    <a:pt x="19" y="75"/>
                    <a:pt x="19" y="75"/>
                    <a:pt x="19" y="75"/>
                  </a:cubicBezTo>
                  <a:cubicBezTo>
                    <a:pt x="21" y="74"/>
                    <a:pt x="21" y="74"/>
                    <a:pt x="21" y="74"/>
                  </a:cubicBezTo>
                  <a:cubicBezTo>
                    <a:pt x="24" y="73"/>
                    <a:pt x="24" y="73"/>
                    <a:pt x="24" y="73"/>
                  </a:cubicBezTo>
                  <a:cubicBezTo>
                    <a:pt x="24" y="68"/>
                    <a:pt x="24" y="68"/>
                    <a:pt x="24" y="68"/>
                  </a:cubicBezTo>
                  <a:cubicBezTo>
                    <a:pt x="23" y="65"/>
                    <a:pt x="23" y="65"/>
                    <a:pt x="23" y="65"/>
                  </a:cubicBezTo>
                  <a:cubicBezTo>
                    <a:pt x="20" y="63"/>
                    <a:pt x="20" y="63"/>
                    <a:pt x="20" y="63"/>
                  </a:cubicBezTo>
                  <a:cubicBezTo>
                    <a:pt x="21" y="56"/>
                    <a:pt x="21" y="56"/>
                    <a:pt x="21" y="56"/>
                  </a:cubicBezTo>
                  <a:cubicBezTo>
                    <a:pt x="21" y="51"/>
                    <a:pt x="21" y="51"/>
                    <a:pt x="21" y="51"/>
                  </a:cubicBezTo>
                  <a:cubicBezTo>
                    <a:pt x="24" y="46"/>
                    <a:pt x="24" y="46"/>
                    <a:pt x="24" y="46"/>
                  </a:cubicBezTo>
                  <a:cubicBezTo>
                    <a:pt x="27" y="44"/>
                    <a:pt x="27" y="44"/>
                    <a:pt x="27" y="44"/>
                  </a:cubicBezTo>
                  <a:cubicBezTo>
                    <a:pt x="33" y="40"/>
                    <a:pt x="33" y="40"/>
                    <a:pt x="33" y="40"/>
                  </a:cubicBezTo>
                  <a:cubicBezTo>
                    <a:pt x="34" y="37"/>
                    <a:pt x="34" y="37"/>
                    <a:pt x="34" y="37"/>
                  </a:cubicBezTo>
                  <a:cubicBezTo>
                    <a:pt x="33" y="34"/>
                    <a:pt x="33" y="34"/>
                    <a:pt x="33" y="34"/>
                  </a:cubicBezTo>
                  <a:cubicBezTo>
                    <a:pt x="35" y="31"/>
                    <a:pt x="35" y="31"/>
                    <a:pt x="35" y="31"/>
                  </a:cubicBezTo>
                  <a:cubicBezTo>
                    <a:pt x="38" y="27"/>
                    <a:pt x="38" y="27"/>
                    <a:pt x="38" y="27"/>
                  </a:cubicBezTo>
                  <a:cubicBezTo>
                    <a:pt x="41" y="28"/>
                    <a:pt x="41" y="28"/>
                    <a:pt x="41" y="28"/>
                  </a:cubicBezTo>
                  <a:cubicBezTo>
                    <a:pt x="41" y="27"/>
                    <a:pt x="41" y="27"/>
                    <a:pt x="41" y="27"/>
                  </a:cubicBezTo>
                  <a:lnTo>
                    <a:pt x="41" y="2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6" name="Freeform 349"/>
            <p:cNvSpPr>
              <a:spLocks/>
            </p:cNvSpPr>
            <p:nvPr/>
          </p:nvSpPr>
          <p:spPr bwMode="auto">
            <a:xfrm>
              <a:off x="5046663" y="2741290"/>
              <a:ext cx="446087" cy="287337"/>
            </a:xfrm>
            <a:custGeom>
              <a:avLst/>
              <a:gdLst/>
              <a:ahLst/>
              <a:cxnLst>
                <a:cxn ang="0">
                  <a:pos x="54" y="22"/>
                </a:cxn>
                <a:cxn ang="0">
                  <a:pos x="56" y="21"/>
                </a:cxn>
                <a:cxn ang="0">
                  <a:pos x="57" y="16"/>
                </a:cxn>
                <a:cxn ang="0">
                  <a:pos x="57" y="14"/>
                </a:cxn>
                <a:cxn ang="0">
                  <a:pos x="52" y="12"/>
                </a:cxn>
                <a:cxn ang="0">
                  <a:pos x="47" y="9"/>
                </a:cxn>
                <a:cxn ang="0">
                  <a:pos x="45" y="9"/>
                </a:cxn>
                <a:cxn ang="0">
                  <a:pos x="42" y="7"/>
                </a:cxn>
                <a:cxn ang="0">
                  <a:pos x="40" y="4"/>
                </a:cxn>
                <a:cxn ang="0">
                  <a:pos x="33" y="1"/>
                </a:cxn>
                <a:cxn ang="0">
                  <a:pos x="31" y="1"/>
                </a:cxn>
                <a:cxn ang="0">
                  <a:pos x="31" y="0"/>
                </a:cxn>
                <a:cxn ang="0">
                  <a:pos x="30" y="0"/>
                </a:cxn>
                <a:cxn ang="0">
                  <a:pos x="28" y="6"/>
                </a:cxn>
                <a:cxn ang="0">
                  <a:pos x="24" y="5"/>
                </a:cxn>
                <a:cxn ang="0">
                  <a:pos x="17" y="5"/>
                </a:cxn>
                <a:cxn ang="0">
                  <a:pos x="11" y="3"/>
                </a:cxn>
                <a:cxn ang="0">
                  <a:pos x="7" y="3"/>
                </a:cxn>
                <a:cxn ang="0">
                  <a:pos x="5" y="4"/>
                </a:cxn>
                <a:cxn ang="0">
                  <a:pos x="6" y="8"/>
                </a:cxn>
                <a:cxn ang="0">
                  <a:pos x="4" y="10"/>
                </a:cxn>
                <a:cxn ang="0">
                  <a:pos x="2" y="15"/>
                </a:cxn>
                <a:cxn ang="0">
                  <a:pos x="0" y="15"/>
                </a:cxn>
                <a:cxn ang="0">
                  <a:pos x="0" y="18"/>
                </a:cxn>
                <a:cxn ang="0">
                  <a:pos x="1" y="19"/>
                </a:cxn>
                <a:cxn ang="0">
                  <a:pos x="2" y="20"/>
                </a:cxn>
                <a:cxn ang="0">
                  <a:pos x="3" y="21"/>
                </a:cxn>
                <a:cxn ang="0">
                  <a:pos x="12" y="20"/>
                </a:cxn>
                <a:cxn ang="0">
                  <a:pos x="18" y="20"/>
                </a:cxn>
                <a:cxn ang="0">
                  <a:pos x="24" y="24"/>
                </a:cxn>
                <a:cxn ang="0">
                  <a:pos x="25" y="28"/>
                </a:cxn>
                <a:cxn ang="0">
                  <a:pos x="22" y="30"/>
                </a:cxn>
                <a:cxn ang="0">
                  <a:pos x="21" y="33"/>
                </a:cxn>
                <a:cxn ang="0">
                  <a:pos x="24" y="34"/>
                </a:cxn>
                <a:cxn ang="0">
                  <a:pos x="25" y="32"/>
                </a:cxn>
                <a:cxn ang="0">
                  <a:pos x="30" y="29"/>
                </a:cxn>
                <a:cxn ang="0">
                  <a:pos x="33" y="29"/>
                </a:cxn>
                <a:cxn ang="0">
                  <a:pos x="36" y="32"/>
                </a:cxn>
                <a:cxn ang="0">
                  <a:pos x="34" y="34"/>
                </a:cxn>
                <a:cxn ang="0">
                  <a:pos x="37" y="37"/>
                </a:cxn>
                <a:cxn ang="0">
                  <a:pos x="45" y="34"/>
                </a:cxn>
                <a:cxn ang="0">
                  <a:pos x="41" y="31"/>
                </a:cxn>
                <a:cxn ang="0">
                  <a:pos x="43" y="28"/>
                </a:cxn>
                <a:cxn ang="0">
                  <a:pos x="50" y="27"/>
                </a:cxn>
                <a:cxn ang="0">
                  <a:pos x="51" y="25"/>
                </a:cxn>
                <a:cxn ang="0">
                  <a:pos x="54" y="22"/>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7" name="Freeform 350"/>
            <p:cNvSpPr>
              <a:spLocks/>
            </p:cNvSpPr>
            <p:nvPr/>
          </p:nvSpPr>
          <p:spPr bwMode="auto">
            <a:xfrm>
              <a:off x="5303838" y="2741290"/>
              <a:ext cx="55562" cy="30162"/>
            </a:xfrm>
            <a:custGeom>
              <a:avLst/>
              <a:gdLst/>
              <a:ahLst/>
              <a:cxnLst>
                <a:cxn ang="0">
                  <a:pos x="36" y="24"/>
                </a:cxn>
                <a:cxn ang="0">
                  <a:pos x="18" y="0"/>
                </a:cxn>
                <a:cxn ang="0">
                  <a:pos x="0" y="6"/>
                </a:cxn>
                <a:cxn ang="0">
                  <a:pos x="42" y="24"/>
                </a:cxn>
                <a:cxn ang="0">
                  <a:pos x="36" y="24"/>
                </a:cxn>
              </a:cxnLst>
              <a:rect l="0" t="0" r="r" b="b"/>
              <a:pathLst>
                <a:path w="42" h="24">
                  <a:moveTo>
                    <a:pt x="36" y="24"/>
                  </a:moveTo>
                  <a:lnTo>
                    <a:pt x="18" y="0"/>
                  </a:lnTo>
                  <a:lnTo>
                    <a:pt x="0" y="6"/>
                  </a:lnTo>
                  <a:lnTo>
                    <a:pt x="42" y="24"/>
                  </a:lnTo>
                  <a:lnTo>
                    <a:pt x="36" y="2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8" name="Freeform 351"/>
            <p:cNvSpPr>
              <a:spLocks/>
            </p:cNvSpPr>
            <p:nvPr/>
          </p:nvSpPr>
          <p:spPr bwMode="auto">
            <a:xfrm>
              <a:off x="4999038" y="2896865"/>
              <a:ext cx="250825" cy="161925"/>
            </a:xfrm>
            <a:custGeom>
              <a:avLst/>
              <a:gdLst/>
              <a:ahLst/>
              <a:cxnLst>
                <a:cxn ang="0">
                  <a:pos x="28" y="10"/>
                </a:cxn>
                <a:cxn ang="0">
                  <a:pos x="31" y="8"/>
                </a:cxn>
                <a:cxn ang="0">
                  <a:pos x="30" y="4"/>
                </a:cxn>
                <a:cxn ang="0">
                  <a:pos x="24" y="0"/>
                </a:cxn>
                <a:cxn ang="0">
                  <a:pos x="18" y="0"/>
                </a:cxn>
                <a:cxn ang="0">
                  <a:pos x="9" y="1"/>
                </a:cxn>
                <a:cxn ang="0">
                  <a:pos x="8" y="0"/>
                </a:cxn>
                <a:cxn ang="0">
                  <a:pos x="5" y="5"/>
                </a:cxn>
                <a:cxn ang="0">
                  <a:pos x="3" y="9"/>
                </a:cxn>
                <a:cxn ang="0">
                  <a:pos x="0" y="10"/>
                </a:cxn>
                <a:cxn ang="0">
                  <a:pos x="0" y="10"/>
                </a:cxn>
                <a:cxn ang="0">
                  <a:pos x="8" y="19"/>
                </a:cxn>
                <a:cxn ang="0">
                  <a:pos x="10" y="20"/>
                </a:cxn>
                <a:cxn ang="0">
                  <a:pos x="16" y="20"/>
                </a:cxn>
                <a:cxn ang="0">
                  <a:pos x="21" y="19"/>
                </a:cxn>
                <a:cxn ang="0">
                  <a:pos x="27" y="21"/>
                </a:cxn>
                <a:cxn ang="0">
                  <a:pos x="28" y="15"/>
                </a:cxn>
                <a:cxn ang="0">
                  <a:pos x="30" y="14"/>
                </a:cxn>
                <a:cxn ang="0">
                  <a:pos x="27" y="13"/>
                </a:cxn>
                <a:cxn ang="0">
                  <a:pos x="28" y="10"/>
                </a:cxn>
              </a:cxnLst>
              <a:rect l="0" t="0" r="r" b="b"/>
              <a:pathLst>
                <a:path w="32" h="21">
                  <a:moveTo>
                    <a:pt x="28" y="10"/>
                  </a:moveTo>
                  <a:cubicBezTo>
                    <a:pt x="28" y="10"/>
                    <a:pt x="31" y="9"/>
                    <a:pt x="31" y="8"/>
                  </a:cubicBezTo>
                  <a:cubicBezTo>
                    <a:pt x="32" y="6"/>
                    <a:pt x="30" y="4"/>
                    <a:pt x="30" y="4"/>
                  </a:cubicBezTo>
                  <a:cubicBezTo>
                    <a:pt x="24" y="0"/>
                    <a:pt x="24" y="0"/>
                    <a:pt x="24" y="0"/>
                  </a:cubicBezTo>
                  <a:cubicBezTo>
                    <a:pt x="18" y="0"/>
                    <a:pt x="18" y="0"/>
                    <a:pt x="18" y="0"/>
                  </a:cubicBezTo>
                  <a:cubicBezTo>
                    <a:pt x="9" y="1"/>
                    <a:pt x="9" y="1"/>
                    <a:pt x="9" y="1"/>
                  </a:cubicBezTo>
                  <a:cubicBezTo>
                    <a:pt x="8" y="0"/>
                    <a:pt x="8" y="0"/>
                    <a:pt x="8" y="0"/>
                  </a:cubicBezTo>
                  <a:cubicBezTo>
                    <a:pt x="5" y="5"/>
                    <a:pt x="5" y="5"/>
                    <a:pt x="5" y="5"/>
                  </a:cubicBezTo>
                  <a:cubicBezTo>
                    <a:pt x="3" y="9"/>
                    <a:pt x="3" y="9"/>
                    <a:pt x="3" y="9"/>
                  </a:cubicBezTo>
                  <a:cubicBezTo>
                    <a:pt x="0" y="10"/>
                    <a:pt x="0" y="10"/>
                    <a:pt x="0" y="10"/>
                  </a:cubicBezTo>
                  <a:cubicBezTo>
                    <a:pt x="0" y="10"/>
                    <a:pt x="0" y="10"/>
                    <a:pt x="0" y="10"/>
                  </a:cubicBezTo>
                  <a:cubicBezTo>
                    <a:pt x="8" y="19"/>
                    <a:pt x="8" y="19"/>
                    <a:pt x="8" y="19"/>
                  </a:cubicBezTo>
                  <a:cubicBezTo>
                    <a:pt x="10" y="20"/>
                    <a:pt x="10" y="20"/>
                    <a:pt x="10" y="20"/>
                  </a:cubicBezTo>
                  <a:cubicBezTo>
                    <a:pt x="16" y="20"/>
                    <a:pt x="16" y="20"/>
                    <a:pt x="16" y="20"/>
                  </a:cubicBezTo>
                  <a:cubicBezTo>
                    <a:pt x="21" y="19"/>
                    <a:pt x="21" y="19"/>
                    <a:pt x="21" y="19"/>
                  </a:cubicBezTo>
                  <a:cubicBezTo>
                    <a:pt x="27" y="21"/>
                    <a:pt x="27" y="21"/>
                    <a:pt x="27" y="21"/>
                  </a:cubicBezTo>
                  <a:cubicBezTo>
                    <a:pt x="28" y="15"/>
                    <a:pt x="28" y="15"/>
                    <a:pt x="28" y="15"/>
                  </a:cubicBezTo>
                  <a:cubicBezTo>
                    <a:pt x="30" y="14"/>
                    <a:pt x="30" y="14"/>
                    <a:pt x="30" y="14"/>
                  </a:cubicBezTo>
                  <a:cubicBezTo>
                    <a:pt x="27" y="13"/>
                    <a:pt x="27" y="13"/>
                    <a:pt x="27" y="13"/>
                  </a:cubicBezTo>
                  <a:lnTo>
                    <a:pt x="28" y="1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89" name="Freeform 352"/>
            <p:cNvSpPr>
              <a:spLocks/>
            </p:cNvSpPr>
            <p:nvPr/>
          </p:nvSpPr>
          <p:spPr bwMode="auto">
            <a:xfrm>
              <a:off x="4999038" y="2976240"/>
              <a:ext cx="61912" cy="69850"/>
            </a:xfrm>
            <a:custGeom>
              <a:avLst/>
              <a:gdLst/>
              <a:ahLst/>
              <a:cxnLst>
                <a:cxn ang="0">
                  <a:pos x="42" y="42"/>
                </a:cxn>
                <a:cxn ang="0">
                  <a:pos x="48" y="54"/>
                </a:cxn>
                <a:cxn ang="0">
                  <a:pos x="0" y="0"/>
                </a:cxn>
                <a:cxn ang="0">
                  <a:pos x="12" y="18"/>
                </a:cxn>
                <a:cxn ang="0">
                  <a:pos x="42" y="42"/>
                </a:cxn>
              </a:cxnLst>
              <a:rect l="0" t="0" r="r" b="b"/>
              <a:pathLst>
                <a:path w="48" h="54">
                  <a:moveTo>
                    <a:pt x="42" y="42"/>
                  </a:moveTo>
                  <a:lnTo>
                    <a:pt x="48" y="54"/>
                  </a:lnTo>
                  <a:lnTo>
                    <a:pt x="0" y="0"/>
                  </a:lnTo>
                  <a:lnTo>
                    <a:pt x="12" y="18"/>
                  </a:lnTo>
                  <a:lnTo>
                    <a:pt x="42" y="4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0" name="Freeform 353"/>
            <p:cNvSpPr>
              <a:spLocks/>
            </p:cNvSpPr>
            <p:nvPr/>
          </p:nvSpPr>
          <p:spPr bwMode="auto">
            <a:xfrm>
              <a:off x="4795838" y="2796852"/>
              <a:ext cx="171450" cy="93663"/>
            </a:xfrm>
            <a:custGeom>
              <a:avLst/>
              <a:gdLst/>
              <a:ahLst/>
              <a:cxnLst>
                <a:cxn ang="0">
                  <a:pos x="10" y="10"/>
                </a:cxn>
                <a:cxn ang="0">
                  <a:pos x="14" y="11"/>
                </a:cxn>
                <a:cxn ang="0">
                  <a:pos x="15" y="11"/>
                </a:cxn>
                <a:cxn ang="0">
                  <a:pos x="15" y="11"/>
                </a:cxn>
                <a:cxn ang="0">
                  <a:pos x="15" y="12"/>
                </a:cxn>
                <a:cxn ang="0">
                  <a:pos x="19" y="10"/>
                </a:cxn>
                <a:cxn ang="0">
                  <a:pos x="20" y="8"/>
                </a:cxn>
                <a:cxn ang="0">
                  <a:pos x="22" y="6"/>
                </a:cxn>
                <a:cxn ang="0">
                  <a:pos x="17" y="4"/>
                </a:cxn>
                <a:cxn ang="0">
                  <a:pos x="13" y="2"/>
                </a:cxn>
                <a:cxn ang="0">
                  <a:pos x="9" y="0"/>
                </a:cxn>
                <a:cxn ang="0">
                  <a:pos x="9" y="1"/>
                </a:cxn>
                <a:cxn ang="0">
                  <a:pos x="7" y="0"/>
                </a:cxn>
                <a:cxn ang="0">
                  <a:pos x="6" y="1"/>
                </a:cxn>
                <a:cxn ang="0">
                  <a:pos x="4" y="2"/>
                </a:cxn>
                <a:cxn ang="0">
                  <a:pos x="2" y="3"/>
                </a:cxn>
                <a:cxn ang="0">
                  <a:pos x="0" y="4"/>
                </a:cxn>
                <a:cxn ang="0">
                  <a:pos x="1" y="5"/>
                </a:cxn>
                <a:cxn ang="0">
                  <a:pos x="3" y="7"/>
                </a:cxn>
                <a:cxn ang="0">
                  <a:pos x="5" y="10"/>
                </a:cxn>
                <a:cxn ang="0">
                  <a:pos x="6" y="11"/>
                </a:cxn>
                <a:cxn ang="0">
                  <a:pos x="6" y="11"/>
                </a:cxn>
                <a:cxn ang="0">
                  <a:pos x="9" y="11"/>
                </a:cxn>
                <a:cxn ang="0">
                  <a:pos x="10" y="10"/>
                </a:cxn>
              </a:cxnLst>
              <a:rect l="0" t="0" r="r" b="b"/>
              <a:pathLst>
                <a:path w="22" h="12">
                  <a:moveTo>
                    <a:pt x="10" y="10"/>
                  </a:moveTo>
                  <a:cubicBezTo>
                    <a:pt x="14" y="11"/>
                    <a:pt x="14" y="11"/>
                    <a:pt x="14" y="11"/>
                  </a:cubicBezTo>
                  <a:cubicBezTo>
                    <a:pt x="15" y="11"/>
                    <a:pt x="15" y="11"/>
                    <a:pt x="15" y="11"/>
                  </a:cubicBezTo>
                  <a:cubicBezTo>
                    <a:pt x="15" y="11"/>
                    <a:pt x="15" y="11"/>
                    <a:pt x="15" y="11"/>
                  </a:cubicBezTo>
                  <a:cubicBezTo>
                    <a:pt x="15" y="12"/>
                    <a:pt x="15" y="12"/>
                    <a:pt x="15" y="12"/>
                  </a:cubicBezTo>
                  <a:cubicBezTo>
                    <a:pt x="19" y="10"/>
                    <a:pt x="19" y="10"/>
                    <a:pt x="19" y="10"/>
                  </a:cubicBezTo>
                  <a:cubicBezTo>
                    <a:pt x="20" y="8"/>
                    <a:pt x="20" y="8"/>
                    <a:pt x="20" y="8"/>
                  </a:cubicBezTo>
                  <a:cubicBezTo>
                    <a:pt x="22" y="6"/>
                    <a:pt x="22" y="6"/>
                    <a:pt x="22" y="6"/>
                  </a:cubicBezTo>
                  <a:cubicBezTo>
                    <a:pt x="17" y="4"/>
                    <a:pt x="17" y="4"/>
                    <a:pt x="17" y="4"/>
                  </a:cubicBezTo>
                  <a:cubicBezTo>
                    <a:pt x="13" y="2"/>
                    <a:pt x="13" y="2"/>
                    <a:pt x="13" y="2"/>
                  </a:cubicBezTo>
                  <a:cubicBezTo>
                    <a:pt x="9" y="0"/>
                    <a:pt x="9" y="0"/>
                    <a:pt x="9" y="0"/>
                  </a:cubicBezTo>
                  <a:cubicBezTo>
                    <a:pt x="9" y="0"/>
                    <a:pt x="9" y="1"/>
                    <a:pt x="9" y="1"/>
                  </a:cubicBezTo>
                  <a:cubicBezTo>
                    <a:pt x="7" y="0"/>
                    <a:pt x="7" y="0"/>
                    <a:pt x="7" y="0"/>
                  </a:cubicBezTo>
                  <a:cubicBezTo>
                    <a:pt x="6" y="1"/>
                    <a:pt x="6" y="1"/>
                    <a:pt x="6" y="1"/>
                  </a:cubicBezTo>
                  <a:cubicBezTo>
                    <a:pt x="4" y="2"/>
                    <a:pt x="4" y="2"/>
                    <a:pt x="4" y="2"/>
                  </a:cubicBezTo>
                  <a:cubicBezTo>
                    <a:pt x="2" y="3"/>
                    <a:pt x="2" y="3"/>
                    <a:pt x="2" y="3"/>
                  </a:cubicBezTo>
                  <a:cubicBezTo>
                    <a:pt x="0" y="4"/>
                    <a:pt x="0" y="4"/>
                    <a:pt x="0" y="4"/>
                  </a:cubicBezTo>
                  <a:cubicBezTo>
                    <a:pt x="1" y="5"/>
                    <a:pt x="1" y="5"/>
                    <a:pt x="1" y="5"/>
                  </a:cubicBezTo>
                  <a:cubicBezTo>
                    <a:pt x="3" y="7"/>
                    <a:pt x="3" y="7"/>
                    <a:pt x="3" y="7"/>
                  </a:cubicBezTo>
                  <a:cubicBezTo>
                    <a:pt x="5" y="10"/>
                    <a:pt x="5" y="10"/>
                    <a:pt x="5" y="10"/>
                  </a:cubicBezTo>
                  <a:cubicBezTo>
                    <a:pt x="6" y="11"/>
                    <a:pt x="6" y="11"/>
                    <a:pt x="6" y="11"/>
                  </a:cubicBezTo>
                  <a:cubicBezTo>
                    <a:pt x="6" y="11"/>
                    <a:pt x="6" y="11"/>
                    <a:pt x="6" y="11"/>
                  </a:cubicBezTo>
                  <a:cubicBezTo>
                    <a:pt x="9" y="11"/>
                    <a:pt x="9" y="11"/>
                    <a:pt x="9" y="11"/>
                  </a:cubicBezTo>
                  <a:lnTo>
                    <a:pt x="10" y="1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1" name="Freeform 354"/>
            <p:cNvSpPr>
              <a:spLocks/>
            </p:cNvSpPr>
            <p:nvPr/>
          </p:nvSpPr>
          <p:spPr bwMode="auto">
            <a:xfrm>
              <a:off x="4897438" y="2890515"/>
              <a:ext cx="163512" cy="90487"/>
            </a:xfrm>
            <a:custGeom>
              <a:avLst/>
              <a:gdLst/>
              <a:ahLst/>
              <a:cxnLst>
                <a:cxn ang="0">
                  <a:pos x="15" y="0"/>
                </a:cxn>
                <a:cxn ang="0">
                  <a:pos x="13" y="1"/>
                </a:cxn>
                <a:cxn ang="0">
                  <a:pos x="9" y="2"/>
                </a:cxn>
                <a:cxn ang="0">
                  <a:pos x="6" y="3"/>
                </a:cxn>
                <a:cxn ang="0">
                  <a:pos x="4" y="3"/>
                </a:cxn>
                <a:cxn ang="0">
                  <a:pos x="3" y="2"/>
                </a:cxn>
                <a:cxn ang="0">
                  <a:pos x="2" y="4"/>
                </a:cxn>
                <a:cxn ang="0">
                  <a:pos x="1" y="7"/>
                </a:cxn>
                <a:cxn ang="0">
                  <a:pos x="0" y="7"/>
                </a:cxn>
                <a:cxn ang="0">
                  <a:pos x="1" y="9"/>
                </a:cxn>
                <a:cxn ang="0">
                  <a:pos x="4" y="11"/>
                </a:cxn>
                <a:cxn ang="0">
                  <a:pos x="8" y="12"/>
                </a:cxn>
                <a:cxn ang="0">
                  <a:pos x="9" y="12"/>
                </a:cxn>
                <a:cxn ang="0">
                  <a:pos x="13" y="11"/>
                </a:cxn>
                <a:cxn ang="0">
                  <a:pos x="13" y="11"/>
                </a:cxn>
                <a:cxn ang="0">
                  <a:pos x="16" y="10"/>
                </a:cxn>
                <a:cxn ang="0">
                  <a:pos x="18" y="6"/>
                </a:cxn>
                <a:cxn ang="0">
                  <a:pos x="21" y="1"/>
                </a:cxn>
                <a:cxn ang="0">
                  <a:pos x="20" y="0"/>
                </a:cxn>
                <a:cxn ang="0">
                  <a:pos x="18" y="0"/>
                </a:cxn>
                <a:cxn ang="0">
                  <a:pos x="15" y="0"/>
                </a:cxn>
              </a:cxnLst>
              <a:rect l="0" t="0" r="r" b="b"/>
              <a:pathLst>
                <a:path w="21" h="12">
                  <a:moveTo>
                    <a:pt x="15" y="0"/>
                  </a:moveTo>
                  <a:cubicBezTo>
                    <a:pt x="13" y="1"/>
                    <a:pt x="13" y="1"/>
                    <a:pt x="13" y="1"/>
                  </a:cubicBezTo>
                  <a:cubicBezTo>
                    <a:pt x="9" y="2"/>
                    <a:pt x="9" y="2"/>
                    <a:pt x="9" y="2"/>
                  </a:cubicBezTo>
                  <a:cubicBezTo>
                    <a:pt x="6" y="3"/>
                    <a:pt x="6" y="3"/>
                    <a:pt x="6" y="3"/>
                  </a:cubicBezTo>
                  <a:cubicBezTo>
                    <a:pt x="4" y="3"/>
                    <a:pt x="4" y="3"/>
                    <a:pt x="4" y="3"/>
                  </a:cubicBezTo>
                  <a:cubicBezTo>
                    <a:pt x="3" y="2"/>
                    <a:pt x="3" y="2"/>
                    <a:pt x="3" y="2"/>
                  </a:cubicBezTo>
                  <a:cubicBezTo>
                    <a:pt x="2" y="4"/>
                    <a:pt x="2" y="4"/>
                    <a:pt x="2" y="4"/>
                  </a:cubicBezTo>
                  <a:cubicBezTo>
                    <a:pt x="1" y="7"/>
                    <a:pt x="1" y="7"/>
                    <a:pt x="1" y="7"/>
                  </a:cubicBezTo>
                  <a:cubicBezTo>
                    <a:pt x="0" y="7"/>
                    <a:pt x="0" y="7"/>
                    <a:pt x="0" y="7"/>
                  </a:cubicBezTo>
                  <a:cubicBezTo>
                    <a:pt x="1" y="9"/>
                    <a:pt x="1" y="9"/>
                    <a:pt x="1" y="9"/>
                  </a:cubicBezTo>
                  <a:cubicBezTo>
                    <a:pt x="4" y="11"/>
                    <a:pt x="4" y="11"/>
                    <a:pt x="4" y="11"/>
                  </a:cubicBezTo>
                  <a:cubicBezTo>
                    <a:pt x="4" y="11"/>
                    <a:pt x="7" y="12"/>
                    <a:pt x="8" y="12"/>
                  </a:cubicBezTo>
                  <a:cubicBezTo>
                    <a:pt x="8" y="12"/>
                    <a:pt x="9" y="12"/>
                    <a:pt x="9" y="12"/>
                  </a:cubicBezTo>
                  <a:cubicBezTo>
                    <a:pt x="11" y="12"/>
                    <a:pt x="12" y="12"/>
                    <a:pt x="13" y="11"/>
                  </a:cubicBezTo>
                  <a:cubicBezTo>
                    <a:pt x="13" y="11"/>
                    <a:pt x="13" y="11"/>
                    <a:pt x="13" y="11"/>
                  </a:cubicBezTo>
                  <a:cubicBezTo>
                    <a:pt x="16" y="10"/>
                    <a:pt x="16" y="10"/>
                    <a:pt x="16" y="10"/>
                  </a:cubicBezTo>
                  <a:cubicBezTo>
                    <a:pt x="18" y="6"/>
                    <a:pt x="18" y="6"/>
                    <a:pt x="18" y="6"/>
                  </a:cubicBezTo>
                  <a:cubicBezTo>
                    <a:pt x="21" y="1"/>
                    <a:pt x="21" y="1"/>
                    <a:pt x="21" y="1"/>
                  </a:cubicBezTo>
                  <a:cubicBezTo>
                    <a:pt x="20" y="0"/>
                    <a:pt x="20" y="0"/>
                    <a:pt x="20" y="0"/>
                  </a:cubicBezTo>
                  <a:cubicBezTo>
                    <a:pt x="18" y="0"/>
                    <a:pt x="18" y="0"/>
                    <a:pt x="18" y="0"/>
                  </a:cubicBezTo>
                  <a:lnTo>
                    <a:pt x="15"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2" name="Freeform 355"/>
            <p:cNvSpPr>
              <a:spLocks/>
            </p:cNvSpPr>
            <p:nvPr/>
          </p:nvSpPr>
          <p:spPr bwMode="auto">
            <a:xfrm>
              <a:off x="4913313" y="2842890"/>
              <a:ext cx="139700" cy="69850"/>
            </a:xfrm>
            <a:custGeom>
              <a:avLst/>
              <a:gdLst/>
              <a:ahLst/>
              <a:cxnLst>
                <a:cxn ang="0">
                  <a:pos x="66" y="12"/>
                </a:cxn>
                <a:cxn ang="0">
                  <a:pos x="42" y="0"/>
                </a:cxn>
                <a:cxn ang="0">
                  <a:pos x="42" y="0"/>
                </a:cxn>
                <a:cxn ang="0">
                  <a:pos x="30" y="12"/>
                </a:cxn>
                <a:cxn ang="0">
                  <a:pos x="24" y="24"/>
                </a:cxn>
                <a:cxn ang="0">
                  <a:pos x="0" y="36"/>
                </a:cxn>
                <a:cxn ang="0">
                  <a:pos x="6" y="48"/>
                </a:cxn>
                <a:cxn ang="0">
                  <a:pos x="6" y="48"/>
                </a:cxn>
                <a:cxn ang="0">
                  <a:pos x="12" y="54"/>
                </a:cxn>
                <a:cxn ang="0">
                  <a:pos x="24" y="54"/>
                </a:cxn>
                <a:cxn ang="0">
                  <a:pos x="42" y="48"/>
                </a:cxn>
                <a:cxn ang="0">
                  <a:pos x="66" y="42"/>
                </a:cxn>
                <a:cxn ang="0">
                  <a:pos x="78" y="36"/>
                </a:cxn>
                <a:cxn ang="0">
                  <a:pos x="96" y="36"/>
                </a:cxn>
                <a:cxn ang="0">
                  <a:pos x="108" y="36"/>
                </a:cxn>
                <a:cxn ang="0">
                  <a:pos x="102" y="30"/>
                </a:cxn>
                <a:cxn ang="0">
                  <a:pos x="102" y="12"/>
                </a:cxn>
                <a:cxn ang="0">
                  <a:pos x="90" y="12"/>
                </a:cxn>
                <a:cxn ang="0">
                  <a:pos x="66" y="12"/>
                </a:cxn>
              </a:cxnLst>
              <a:rect l="0" t="0" r="r" b="b"/>
              <a:pathLst>
                <a:path w="108" h="54">
                  <a:moveTo>
                    <a:pt x="66" y="12"/>
                  </a:moveTo>
                  <a:lnTo>
                    <a:pt x="42" y="0"/>
                  </a:lnTo>
                  <a:lnTo>
                    <a:pt x="42" y="0"/>
                  </a:lnTo>
                  <a:lnTo>
                    <a:pt x="30" y="12"/>
                  </a:lnTo>
                  <a:lnTo>
                    <a:pt x="24" y="24"/>
                  </a:lnTo>
                  <a:lnTo>
                    <a:pt x="0" y="36"/>
                  </a:lnTo>
                  <a:lnTo>
                    <a:pt x="6" y="48"/>
                  </a:lnTo>
                  <a:lnTo>
                    <a:pt x="6" y="48"/>
                  </a:lnTo>
                  <a:lnTo>
                    <a:pt x="12" y="54"/>
                  </a:lnTo>
                  <a:lnTo>
                    <a:pt x="24" y="54"/>
                  </a:lnTo>
                  <a:lnTo>
                    <a:pt x="42" y="48"/>
                  </a:lnTo>
                  <a:lnTo>
                    <a:pt x="66" y="42"/>
                  </a:lnTo>
                  <a:lnTo>
                    <a:pt x="78" y="36"/>
                  </a:lnTo>
                  <a:lnTo>
                    <a:pt x="96" y="36"/>
                  </a:lnTo>
                  <a:lnTo>
                    <a:pt x="108" y="36"/>
                  </a:lnTo>
                  <a:lnTo>
                    <a:pt x="102" y="30"/>
                  </a:lnTo>
                  <a:lnTo>
                    <a:pt x="102" y="12"/>
                  </a:lnTo>
                  <a:lnTo>
                    <a:pt x="90" y="12"/>
                  </a:lnTo>
                  <a:lnTo>
                    <a:pt x="66"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3" name="Freeform 356"/>
            <p:cNvSpPr>
              <a:spLocks/>
            </p:cNvSpPr>
            <p:nvPr/>
          </p:nvSpPr>
          <p:spPr bwMode="auto">
            <a:xfrm>
              <a:off x="5060950" y="3046090"/>
              <a:ext cx="174625" cy="149225"/>
            </a:xfrm>
            <a:custGeom>
              <a:avLst/>
              <a:gdLst/>
              <a:ahLst/>
              <a:cxnLst>
                <a:cxn ang="0">
                  <a:pos x="48" y="6"/>
                </a:cxn>
                <a:cxn ang="0">
                  <a:pos x="12" y="6"/>
                </a:cxn>
                <a:cxn ang="0">
                  <a:pos x="0" y="0"/>
                </a:cxn>
                <a:cxn ang="0">
                  <a:pos x="0" y="12"/>
                </a:cxn>
                <a:cxn ang="0">
                  <a:pos x="6" y="30"/>
                </a:cxn>
                <a:cxn ang="0">
                  <a:pos x="0" y="48"/>
                </a:cxn>
                <a:cxn ang="0">
                  <a:pos x="6" y="61"/>
                </a:cxn>
                <a:cxn ang="0">
                  <a:pos x="12" y="73"/>
                </a:cxn>
                <a:cxn ang="0">
                  <a:pos x="12" y="73"/>
                </a:cxn>
                <a:cxn ang="0">
                  <a:pos x="48" y="73"/>
                </a:cxn>
                <a:cxn ang="0">
                  <a:pos x="66" y="73"/>
                </a:cxn>
                <a:cxn ang="0">
                  <a:pos x="72" y="67"/>
                </a:cxn>
                <a:cxn ang="0">
                  <a:pos x="72" y="73"/>
                </a:cxn>
                <a:cxn ang="0">
                  <a:pos x="66" y="85"/>
                </a:cxn>
                <a:cxn ang="0">
                  <a:pos x="60" y="91"/>
                </a:cxn>
                <a:cxn ang="0">
                  <a:pos x="66" y="115"/>
                </a:cxn>
                <a:cxn ang="0">
                  <a:pos x="90" y="97"/>
                </a:cxn>
                <a:cxn ang="0">
                  <a:pos x="114" y="97"/>
                </a:cxn>
                <a:cxn ang="0">
                  <a:pos x="126" y="79"/>
                </a:cxn>
                <a:cxn ang="0">
                  <a:pos x="132" y="79"/>
                </a:cxn>
                <a:cxn ang="0">
                  <a:pos x="96" y="67"/>
                </a:cxn>
                <a:cxn ang="0">
                  <a:pos x="90" y="36"/>
                </a:cxn>
                <a:cxn ang="0">
                  <a:pos x="114" y="12"/>
                </a:cxn>
                <a:cxn ang="0">
                  <a:pos x="114" y="12"/>
                </a:cxn>
                <a:cxn ang="0">
                  <a:pos x="78" y="0"/>
                </a:cxn>
                <a:cxn ang="0">
                  <a:pos x="48" y="6"/>
                </a:cxn>
              </a:cxnLst>
              <a:rect l="0" t="0" r="r" b="b"/>
              <a:pathLst>
                <a:path w="132" h="115">
                  <a:moveTo>
                    <a:pt x="48" y="6"/>
                  </a:moveTo>
                  <a:lnTo>
                    <a:pt x="12" y="6"/>
                  </a:lnTo>
                  <a:lnTo>
                    <a:pt x="0" y="0"/>
                  </a:lnTo>
                  <a:lnTo>
                    <a:pt x="0" y="12"/>
                  </a:lnTo>
                  <a:lnTo>
                    <a:pt x="6" y="30"/>
                  </a:lnTo>
                  <a:lnTo>
                    <a:pt x="0" y="48"/>
                  </a:lnTo>
                  <a:lnTo>
                    <a:pt x="6" y="61"/>
                  </a:lnTo>
                  <a:lnTo>
                    <a:pt x="12" y="73"/>
                  </a:lnTo>
                  <a:lnTo>
                    <a:pt x="12" y="73"/>
                  </a:lnTo>
                  <a:lnTo>
                    <a:pt x="48" y="73"/>
                  </a:lnTo>
                  <a:lnTo>
                    <a:pt x="66" y="73"/>
                  </a:lnTo>
                  <a:lnTo>
                    <a:pt x="72" y="67"/>
                  </a:lnTo>
                  <a:lnTo>
                    <a:pt x="72" y="73"/>
                  </a:lnTo>
                  <a:lnTo>
                    <a:pt x="66" y="85"/>
                  </a:lnTo>
                  <a:lnTo>
                    <a:pt x="60" y="91"/>
                  </a:lnTo>
                  <a:lnTo>
                    <a:pt x="66" y="115"/>
                  </a:lnTo>
                  <a:lnTo>
                    <a:pt x="90" y="97"/>
                  </a:lnTo>
                  <a:lnTo>
                    <a:pt x="114" y="97"/>
                  </a:lnTo>
                  <a:lnTo>
                    <a:pt x="126" y="79"/>
                  </a:lnTo>
                  <a:lnTo>
                    <a:pt x="132" y="79"/>
                  </a:lnTo>
                  <a:lnTo>
                    <a:pt x="96" y="67"/>
                  </a:lnTo>
                  <a:lnTo>
                    <a:pt x="90" y="36"/>
                  </a:lnTo>
                  <a:lnTo>
                    <a:pt x="114" y="12"/>
                  </a:lnTo>
                  <a:lnTo>
                    <a:pt x="114" y="12"/>
                  </a:lnTo>
                  <a:lnTo>
                    <a:pt x="78" y="0"/>
                  </a:lnTo>
                  <a:lnTo>
                    <a:pt x="48"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4" name="Freeform 357"/>
            <p:cNvSpPr>
              <a:spLocks/>
            </p:cNvSpPr>
            <p:nvPr/>
          </p:nvSpPr>
          <p:spPr bwMode="auto">
            <a:xfrm>
              <a:off x="4951413" y="2976240"/>
              <a:ext cx="127000" cy="219075"/>
            </a:xfrm>
            <a:custGeom>
              <a:avLst/>
              <a:gdLst/>
              <a:ahLst/>
              <a:cxnLst>
                <a:cxn ang="0">
                  <a:pos x="9" y="24"/>
                </a:cxn>
                <a:cxn ang="0">
                  <a:pos x="9" y="23"/>
                </a:cxn>
                <a:cxn ang="0">
                  <a:pos x="13" y="22"/>
                </a:cxn>
                <a:cxn ang="0">
                  <a:pos x="16" y="21"/>
                </a:cxn>
                <a:cxn ang="0">
                  <a:pos x="15" y="19"/>
                </a:cxn>
                <a:cxn ang="0">
                  <a:pos x="14" y="17"/>
                </a:cxn>
                <a:cxn ang="0">
                  <a:pos x="15" y="14"/>
                </a:cxn>
                <a:cxn ang="0">
                  <a:pos x="14" y="11"/>
                </a:cxn>
                <a:cxn ang="0">
                  <a:pos x="14" y="9"/>
                </a:cxn>
                <a:cxn ang="0">
                  <a:pos x="13" y="7"/>
                </a:cxn>
                <a:cxn ang="0">
                  <a:pos x="8" y="3"/>
                </a:cxn>
                <a:cxn ang="0">
                  <a:pos x="6" y="0"/>
                </a:cxn>
                <a:cxn ang="0">
                  <a:pos x="2" y="1"/>
                </a:cxn>
                <a:cxn ang="0">
                  <a:pos x="2" y="2"/>
                </a:cxn>
                <a:cxn ang="0">
                  <a:pos x="3" y="4"/>
                </a:cxn>
                <a:cxn ang="0">
                  <a:pos x="3" y="6"/>
                </a:cxn>
                <a:cxn ang="0">
                  <a:pos x="4" y="9"/>
                </a:cxn>
                <a:cxn ang="0">
                  <a:pos x="1" y="13"/>
                </a:cxn>
                <a:cxn ang="0">
                  <a:pos x="0" y="18"/>
                </a:cxn>
                <a:cxn ang="0">
                  <a:pos x="4" y="21"/>
                </a:cxn>
                <a:cxn ang="0">
                  <a:pos x="4" y="24"/>
                </a:cxn>
                <a:cxn ang="0">
                  <a:pos x="6" y="28"/>
                </a:cxn>
                <a:cxn ang="0">
                  <a:pos x="8" y="26"/>
                </a:cxn>
                <a:cxn ang="0">
                  <a:pos x="9" y="24"/>
                </a:cxn>
              </a:cxnLst>
              <a:rect l="0" t="0" r="r" b="b"/>
              <a:pathLst>
                <a:path w="16" h="28">
                  <a:moveTo>
                    <a:pt x="9" y="24"/>
                  </a:moveTo>
                  <a:cubicBezTo>
                    <a:pt x="9" y="23"/>
                    <a:pt x="9" y="23"/>
                    <a:pt x="9" y="23"/>
                  </a:cubicBezTo>
                  <a:cubicBezTo>
                    <a:pt x="13" y="22"/>
                    <a:pt x="13" y="22"/>
                    <a:pt x="13" y="22"/>
                  </a:cubicBezTo>
                  <a:cubicBezTo>
                    <a:pt x="16" y="21"/>
                    <a:pt x="16" y="21"/>
                    <a:pt x="16" y="21"/>
                  </a:cubicBezTo>
                  <a:cubicBezTo>
                    <a:pt x="15" y="19"/>
                    <a:pt x="15" y="19"/>
                    <a:pt x="15" y="19"/>
                  </a:cubicBezTo>
                  <a:cubicBezTo>
                    <a:pt x="14" y="17"/>
                    <a:pt x="14" y="17"/>
                    <a:pt x="14" y="17"/>
                  </a:cubicBezTo>
                  <a:cubicBezTo>
                    <a:pt x="15" y="14"/>
                    <a:pt x="15" y="14"/>
                    <a:pt x="15" y="14"/>
                  </a:cubicBezTo>
                  <a:cubicBezTo>
                    <a:pt x="14" y="11"/>
                    <a:pt x="14" y="11"/>
                    <a:pt x="14" y="11"/>
                  </a:cubicBezTo>
                  <a:cubicBezTo>
                    <a:pt x="14" y="9"/>
                    <a:pt x="14" y="9"/>
                    <a:pt x="14" y="9"/>
                  </a:cubicBezTo>
                  <a:cubicBezTo>
                    <a:pt x="13" y="7"/>
                    <a:pt x="13" y="7"/>
                    <a:pt x="13" y="7"/>
                  </a:cubicBezTo>
                  <a:cubicBezTo>
                    <a:pt x="8" y="3"/>
                    <a:pt x="8" y="3"/>
                    <a:pt x="8" y="3"/>
                  </a:cubicBezTo>
                  <a:cubicBezTo>
                    <a:pt x="6" y="0"/>
                    <a:pt x="6" y="0"/>
                    <a:pt x="6" y="0"/>
                  </a:cubicBezTo>
                  <a:cubicBezTo>
                    <a:pt x="5" y="1"/>
                    <a:pt x="4" y="1"/>
                    <a:pt x="2" y="1"/>
                  </a:cubicBezTo>
                  <a:cubicBezTo>
                    <a:pt x="2" y="2"/>
                    <a:pt x="2" y="2"/>
                    <a:pt x="2" y="2"/>
                  </a:cubicBezTo>
                  <a:cubicBezTo>
                    <a:pt x="3" y="4"/>
                    <a:pt x="3" y="4"/>
                    <a:pt x="3" y="4"/>
                  </a:cubicBezTo>
                  <a:cubicBezTo>
                    <a:pt x="3" y="6"/>
                    <a:pt x="3" y="6"/>
                    <a:pt x="3" y="6"/>
                  </a:cubicBezTo>
                  <a:cubicBezTo>
                    <a:pt x="4" y="9"/>
                    <a:pt x="4" y="9"/>
                    <a:pt x="4" y="9"/>
                  </a:cubicBezTo>
                  <a:cubicBezTo>
                    <a:pt x="1" y="13"/>
                    <a:pt x="1" y="13"/>
                    <a:pt x="1" y="13"/>
                  </a:cubicBezTo>
                  <a:cubicBezTo>
                    <a:pt x="0" y="18"/>
                    <a:pt x="0" y="18"/>
                    <a:pt x="0" y="18"/>
                  </a:cubicBezTo>
                  <a:cubicBezTo>
                    <a:pt x="4" y="21"/>
                    <a:pt x="4" y="21"/>
                    <a:pt x="4" y="21"/>
                  </a:cubicBezTo>
                  <a:cubicBezTo>
                    <a:pt x="4" y="24"/>
                    <a:pt x="4" y="24"/>
                    <a:pt x="4" y="24"/>
                  </a:cubicBezTo>
                  <a:cubicBezTo>
                    <a:pt x="6" y="28"/>
                    <a:pt x="6" y="28"/>
                    <a:pt x="6" y="28"/>
                  </a:cubicBezTo>
                  <a:cubicBezTo>
                    <a:pt x="8" y="26"/>
                    <a:pt x="8" y="26"/>
                    <a:pt x="8" y="26"/>
                  </a:cubicBezTo>
                  <a:lnTo>
                    <a:pt x="9" y="2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5" name="Freeform 358"/>
            <p:cNvSpPr>
              <a:spLocks/>
            </p:cNvSpPr>
            <p:nvPr/>
          </p:nvSpPr>
          <p:spPr bwMode="auto">
            <a:xfrm>
              <a:off x="4833938" y="2942902"/>
              <a:ext cx="147637" cy="171450"/>
            </a:xfrm>
            <a:custGeom>
              <a:avLst/>
              <a:gdLst/>
              <a:ahLst/>
              <a:cxnLst>
                <a:cxn ang="0">
                  <a:pos x="19" y="13"/>
                </a:cxn>
                <a:cxn ang="0">
                  <a:pos x="18" y="10"/>
                </a:cxn>
                <a:cxn ang="0">
                  <a:pos x="18" y="8"/>
                </a:cxn>
                <a:cxn ang="0">
                  <a:pos x="17" y="6"/>
                </a:cxn>
                <a:cxn ang="0">
                  <a:pos x="17" y="5"/>
                </a:cxn>
                <a:cxn ang="0">
                  <a:pos x="16" y="5"/>
                </a:cxn>
                <a:cxn ang="0">
                  <a:pos x="12" y="4"/>
                </a:cxn>
                <a:cxn ang="0">
                  <a:pos x="9" y="2"/>
                </a:cxn>
                <a:cxn ang="0">
                  <a:pos x="8" y="0"/>
                </a:cxn>
                <a:cxn ang="0">
                  <a:pos x="5" y="2"/>
                </a:cxn>
                <a:cxn ang="0">
                  <a:pos x="1" y="2"/>
                </a:cxn>
                <a:cxn ang="0">
                  <a:pos x="0" y="2"/>
                </a:cxn>
                <a:cxn ang="0">
                  <a:pos x="0" y="5"/>
                </a:cxn>
                <a:cxn ang="0">
                  <a:pos x="0" y="7"/>
                </a:cxn>
                <a:cxn ang="0">
                  <a:pos x="2" y="7"/>
                </a:cxn>
                <a:cxn ang="0">
                  <a:pos x="6" y="12"/>
                </a:cxn>
                <a:cxn ang="0">
                  <a:pos x="8" y="17"/>
                </a:cxn>
                <a:cxn ang="0">
                  <a:pos x="15" y="22"/>
                </a:cxn>
                <a:cxn ang="0">
                  <a:pos x="16" y="17"/>
                </a:cxn>
                <a:cxn ang="0">
                  <a:pos x="19" y="13"/>
                </a:cxn>
              </a:cxnLst>
              <a:rect l="0" t="0" r="r" b="b"/>
              <a:pathLst>
                <a:path w="19" h="22">
                  <a:moveTo>
                    <a:pt x="19" y="13"/>
                  </a:moveTo>
                  <a:cubicBezTo>
                    <a:pt x="18" y="10"/>
                    <a:pt x="18" y="10"/>
                    <a:pt x="18" y="10"/>
                  </a:cubicBezTo>
                  <a:cubicBezTo>
                    <a:pt x="18" y="8"/>
                    <a:pt x="18" y="8"/>
                    <a:pt x="18" y="8"/>
                  </a:cubicBezTo>
                  <a:cubicBezTo>
                    <a:pt x="17" y="6"/>
                    <a:pt x="17" y="6"/>
                    <a:pt x="17" y="6"/>
                  </a:cubicBezTo>
                  <a:cubicBezTo>
                    <a:pt x="17" y="5"/>
                    <a:pt x="17" y="5"/>
                    <a:pt x="17" y="5"/>
                  </a:cubicBezTo>
                  <a:cubicBezTo>
                    <a:pt x="17" y="5"/>
                    <a:pt x="16" y="5"/>
                    <a:pt x="16" y="5"/>
                  </a:cubicBezTo>
                  <a:cubicBezTo>
                    <a:pt x="15" y="5"/>
                    <a:pt x="12" y="4"/>
                    <a:pt x="12" y="4"/>
                  </a:cubicBezTo>
                  <a:cubicBezTo>
                    <a:pt x="9" y="2"/>
                    <a:pt x="9" y="2"/>
                    <a:pt x="9" y="2"/>
                  </a:cubicBezTo>
                  <a:cubicBezTo>
                    <a:pt x="8" y="0"/>
                    <a:pt x="8" y="0"/>
                    <a:pt x="8" y="0"/>
                  </a:cubicBezTo>
                  <a:cubicBezTo>
                    <a:pt x="5" y="2"/>
                    <a:pt x="5" y="2"/>
                    <a:pt x="5" y="2"/>
                  </a:cubicBezTo>
                  <a:cubicBezTo>
                    <a:pt x="1" y="2"/>
                    <a:pt x="1" y="2"/>
                    <a:pt x="1" y="2"/>
                  </a:cubicBezTo>
                  <a:cubicBezTo>
                    <a:pt x="0" y="2"/>
                    <a:pt x="0" y="2"/>
                    <a:pt x="0" y="2"/>
                  </a:cubicBezTo>
                  <a:cubicBezTo>
                    <a:pt x="0" y="5"/>
                    <a:pt x="0" y="5"/>
                    <a:pt x="0" y="5"/>
                  </a:cubicBezTo>
                  <a:cubicBezTo>
                    <a:pt x="0" y="7"/>
                    <a:pt x="0" y="7"/>
                    <a:pt x="0" y="7"/>
                  </a:cubicBezTo>
                  <a:cubicBezTo>
                    <a:pt x="2" y="7"/>
                    <a:pt x="2" y="7"/>
                    <a:pt x="2" y="7"/>
                  </a:cubicBezTo>
                  <a:cubicBezTo>
                    <a:pt x="6" y="12"/>
                    <a:pt x="6" y="12"/>
                    <a:pt x="6" y="12"/>
                  </a:cubicBezTo>
                  <a:cubicBezTo>
                    <a:pt x="8" y="17"/>
                    <a:pt x="8" y="17"/>
                    <a:pt x="8" y="17"/>
                  </a:cubicBezTo>
                  <a:cubicBezTo>
                    <a:pt x="15" y="22"/>
                    <a:pt x="15" y="22"/>
                    <a:pt x="15" y="22"/>
                  </a:cubicBezTo>
                  <a:cubicBezTo>
                    <a:pt x="16" y="17"/>
                    <a:pt x="16" y="17"/>
                    <a:pt x="16" y="17"/>
                  </a:cubicBezTo>
                  <a:lnTo>
                    <a:pt x="19" y="1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6" name="Freeform 359"/>
            <p:cNvSpPr>
              <a:spLocks/>
            </p:cNvSpPr>
            <p:nvPr/>
          </p:nvSpPr>
          <p:spPr bwMode="auto">
            <a:xfrm>
              <a:off x="4991100" y="2615877"/>
              <a:ext cx="77788" cy="47625"/>
            </a:xfrm>
            <a:custGeom>
              <a:avLst/>
              <a:gdLst/>
              <a:ahLst/>
              <a:cxnLst>
                <a:cxn ang="0">
                  <a:pos x="54" y="36"/>
                </a:cxn>
                <a:cxn ang="0">
                  <a:pos x="60" y="24"/>
                </a:cxn>
                <a:cxn ang="0">
                  <a:pos x="54" y="12"/>
                </a:cxn>
                <a:cxn ang="0">
                  <a:pos x="42" y="6"/>
                </a:cxn>
                <a:cxn ang="0">
                  <a:pos x="30" y="0"/>
                </a:cxn>
                <a:cxn ang="0">
                  <a:pos x="18" y="0"/>
                </a:cxn>
                <a:cxn ang="0">
                  <a:pos x="6" y="12"/>
                </a:cxn>
                <a:cxn ang="0">
                  <a:pos x="0" y="18"/>
                </a:cxn>
                <a:cxn ang="0">
                  <a:pos x="12" y="30"/>
                </a:cxn>
                <a:cxn ang="0">
                  <a:pos x="54" y="36"/>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7" name="Freeform 360"/>
            <p:cNvSpPr>
              <a:spLocks/>
            </p:cNvSpPr>
            <p:nvPr/>
          </p:nvSpPr>
          <p:spPr bwMode="auto">
            <a:xfrm>
              <a:off x="4849813" y="2639690"/>
              <a:ext cx="242887" cy="217487"/>
            </a:xfrm>
            <a:custGeom>
              <a:avLst/>
              <a:gdLst/>
              <a:ahLst/>
              <a:cxnLst>
                <a:cxn ang="0">
                  <a:pos x="1" y="9"/>
                </a:cxn>
                <a:cxn ang="0">
                  <a:pos x="1" y="10"/>
                </a:cxn>
                <a:cxn ang="0">
                  <a:pos x="1" y="13"/>
                </a:cxn>
                <a:cxn ang="0">
                  <a:pos x="2" y="17"/>
                </a:cxn>
                <a:cxn ang="0">
                  <a:pos x="2" y="20"/>
                </a:cxn>
                <a:cxn ang="0">
                  <a:pos x="6" y="22"/>
                </a:cxn>
                <a:cxn ang="0">
                  <a:pos x="10" y="24"/>
                </a:cxn>
                <a:cxn ang="0">
                  <a:pos x="15" y="26"/>
                </a:cxn>
                <a:cxn ang="0">
                  <a:pos x="15" y="26"/>
                </a:cxn>
                <a:cxn ang="0">
                  <a:pos x="19" y="28"/>
                </a:cxn>
                <a:cxn ang="0">
                  <a:pos x="23" y="28"/>
                </a:cxn>
                <a:cxn ang="0">
                  <a:pos x="25" y="28"/>
                </a:cxn>
                <a:cxn ang="0">
                  <a:pos x="27" y="28"/>
                </a:cxn>
                <a:cxn ang="0">
                  <a:pos x="29" y="23"/>
                </a:cxn>
                <a:cxn ang="0">
                  <a:pos x="31" y="21"/>
                </a:cxn>
                <a:cxn ang="0">
                  <a:pos x="30" y="17"/>
                </a:cxn>
                <a:cxn ang="0">
                  <a:pos x="30" y="15"/>
                </a:cxn>
                <a:cxn ang="0">
                  <a:pos x="29" y="12"/>
                </a:cxn>
                <a:cxn ang="0">
                  <a:pos x="31" y="10"/>
                </a:cxn>
                <a:cxn ang="0">
                  <a:pos x="30" y="6"/>
                </a:cxn>
                <a:cxn ang="0">
                  <a:pos x="28" y="3"/>
                </a:cxn>
                <a:cxn ang="0">
                  <a:pos x="27" y="3"/>
                </a:cxn>
                <a:cxn ang="0">
                  <a:pos x="20" y="2"/>
                </a:cxn>
                <a:cxn ang="0">
                  <a:pos x="18" y="0"/>
                </a:cxn>
                <a:cxn ang="0">
                  <a:pos x="18" y="1"/>
                </a:cxn>
                <a:cxn ang="0">
                  <a:pos x="15" y="1"/>
                </a:cxn>
                <a:cxn ang="0">
                  <a:pos x="14" y="0"/>
                </a:cxn>
                <a:cxn ang="0">
                  <a:pos x="13" y="0"/>
                </a:cxn>
                <a:cxn ang="0">
                  <a:pos x="5" y="3"/>
                </a:cxn>
                <a:cxn ang="0">
                  <a:pos x="1" y="5"/>
                </a:cxn>
                <a:cxn ang="0">
                  <a:pos x="0" y="4"/>
                </a:cxn>
                <a:cxn ang="0">
                  <a:pos x="0" y="6"/>
                </a:cxn>
                <a:cxn ang="0">
                  <a:pos x="1" y="9"/>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8" name="Freeform 361"/>
            <p:cNvSpPr>
              <a:spLocks/>
            </p:cNvSpPr>
            <p:nvPr/>
          </p:nvSpPr>
          <p:spPr bwMode="auto">
            <a:xfrm>
              <a:off x="4652963" y="2920677"/>
              <a:ext cx="109537" cy="60325"/>
            </a:xfrm>
            <a:custGeom>
              <a:avLst/>
              <a:gdLst/>
              <a:ahLst/>
              <a:cxnLst>
                <a:cxn ang="0">
                  <a:pos x="66" y="12"/>
                </a:cxn>
                <a:cxn ang="0">
                  <a:pos x="60" y="6"/>
                </a:cxn>
                <a:cxn ang="0">
                  <a:pos x="48" y="0"/>
                </a:cxn>
                <a:cxn ang="0">
                  <a:pos x="30" y="6"/>
                </a:cxn>
                <a:cxn ang="0">
                  <a:pos x="24" y="0"/>
                </a:cxn>
                <a:cxn ang="0">
                  <a:pos x="24" y="0"/>
                </a:cxn>
                <a:cxn ang="0">
                  <a:pos x="18" y="6"/>
                </a:cxn>
                <a:cxn ang="0">
                  <a:pos x="0" y="24"/>
                </a:cxn>
                <a:cxn ang="0">
                  <a:pos x="0" y="36"/>
                </a:cxn>
                <a:cxn ang="0">
                  <a:pos x="12" y="36"/>
                </a:cxn>
                <a:cxn ang="0">
                  <a:pos x="18" y="48"/>
                </a:cxn>
                <a:cxn ang="0">
                  <a:pos x="18" y="48"/>
                </a:cxn>
                <a:cxn ang="0">
                  <a:pos x="24" y="48"/>
                </a:cxn>
                <a:cxn ang="0">
                  <a:pos x="42" y="36"/>
                </a:cxn>
                <a:cxn ang="0">
                  <a:pos x="48" y="42"/>
                </a:cxn>
                <a:cxn ang="0">
                  <a:pos x="66" y="36"/>
                </a:cxn>
                <a:cxn ang="0">
                  <a:pos x="78" y="30"/>
                </a:cxn>
                <a:cxn ang="0">
                  <a:pos x="84" y="30"/>
                </a:cxn>
                <a:cxn ang="0">
                  <a:pos x="78" y="24"/>
                </a:cxn>
                <a:cxn ang="0">
                  <a:pos x="66" y="12"/>
                </a:cxn>
              </a:cxnLst>
              <a:rect l="0" t="0" r="r" b="b"/>
              <a:pathLst>
                <a:path w="84" h="48">
                  <a:moveTo>
                    <a:pt x="66" y="12"/>
                  </a:moveTo>
                  <a:lnTo>
                    <a:pt x="60" y="6"/>
                  </a:lnTo>
                  <a:lnTo>
                    <a:pt x="48" y="0"/>
                  </a:lnTo>
                  <a:lnTo>
                    <a:pt x="30" y="6"/>
                  </a:lnTo>
                  <a:lnTo>
                    <a:pt x="24" y="0"/>
                  </a:lnTo>
                  <a:lnTo>
                    <a:pt x="24" y="0"/>
                  </a:lnTo>
                  <a:lnTo>
                    <a:pt x="18" y="6"/>
                  </a:lnTo>
                  <a:lnTo>
                    <a:pt x="0" y="24"/>
                  </a:lnTo>
                  <a:lnTo>
                    <a:pt x="0" y="36"/>
                  </a:lnTo>
                  <a:lnTo>
                    <a:pt x="12" y="36"/>
                  </a:lnTo>
                  <a:lnTo>
                    <a:pt x="18" y="48"/>
                  </a:lnTo>
                  <a:lnTo>
                    <a:pt x="18" y="48"/>
                  </a:lnTo>
                  <a:lnTo>
                    <a:pt x="24" y="48"/>
                  </a:lnTo>
                  <a:lnTo>
                    <a:pt x="42" y="36"/>
                  </a:lnTo>
                  <a:lnTo>
                    <a:pt x="48" y="42"/>
                  </a:lnTo>
                  <a:lnTo>
                    <a:pt x="66" y="36"/>
                  </a:lnTo>
                  <a:lnTo>
                    <a:pt x="78" y="30"/>
                  </a:lnTo>
                  <a:lnTo>
                    <a:pt x="84" y="30"/>
                  </a:lnTo>
                  <a:lnTo>
                    <a:pt x="78" y="24"/>
                  </a:lnTo>
                  <a:lnTo>
                    <a:pt x="66"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99" name="Freeform 362"/>
            <p:cNvSpPr>
              <a:spLocks/>
            </p:cNvSpPr>
            <p:nvPr/>
          </p:nvSpPr>
          <p:spPr bwMode="auto">
            <a:xfrm>
              <a:off x="4700588" y="2514277"/>
              <a:ext cx="71437" cy="125413"/>
            </a:xfrm>
            <a:custGeom>
              <a:avLst/>
              <a:gdLst/>
              <a:ahLst/>
              <a:cxnLst>
                <a:cxn ang="0">
                  <a:pos x="6" y="16"/>
                </a:cxn>
                <a:cxn ang="0">
                  <a:pos x="5" y="13"/>
                </a:cxn>
                <a:cxn ang="0">
                  <a:pos x="6" y="9"/>
                </a:cxn>
                <a:cxn ang="0">
                  <a:pos x="8" y="9"/>
                </a:cxn>
                <a:cxn ang="0">
                  <a:pos x="9" y="7"/>
                </a:cxn>
                <a:cxn ang="0">
                  <a:pos x="7" y="6"/>
                </a:cxn>
                <a:cxn ang="0">
                  <a:pos x="7" y="4"/>
                </a:cxn>
                <a:cxn ang="0">
                  <a:pos x="7" y="0"/>
                </a:cxn>
                <a:cxn ang="0">
                  <a:pos x="4" y="2"/>
                </a:cxn>
                <a:cxn ang="0">
                  <a:pos x="1" y="3"/>
                </a:cxn>
                <a:cxn ang="0">
                  <a:pos x="0" y="7"/>
                </a:cxn>
                <a:cxn ang="0">
                  <a:pos x="0" y="11"/>
                </a:cxn>
                <a:cxn ang="0">
                  <a:pos x="2" y="12"/>
                </a:cxn>
                <a:cxn ang="0">
                  <a:pos x="3" y="16"/>
                </a:cxn>
                <a:cxn ang="0">
                  <a:pos x="4" y="15"/>
                </a:cxn>
                <a:cxn ang="0">
                  <a:pos x="6" y="16"/>
                </a:cxn>
              </a:cxnLst>
              <a:rect l="0" t="0" r="r" b="b"/>
              <a:pathLst>
                <a:path w="9" h="16">
                  <a:moveTo>
                    <a:pt x="6" y="16"/>
                  </a:moveTo>
                  <a:cubicBezTo>
                    <a:pt x="5" y="15"/>
                    <a:pt x="5" y="14"/>
                    <a:pt x="5" y="13"/>
                  </a:cubicBezTo>
                  <a:cubicBezTo>
                    <a:pt x="5" y="11"/>
                    <a:pt x="6" y="9"/>
                    <a:pt x="6" y="9"/>
                  </a:cubicBezTo>
                  <a:cubicBezTo>
                    <a:pt x="8" y="9"/>
                    <a:pt x="8" y="9"/>
                    <a:pt x="8" y="9"/>
                  </a:cubicBezTo>
                  <a:cubicBezTo>
                    <a:pt x="9" y="7"/>
                    <a:pt x="9" y="7"/>
                    <a:pt x="9" y="7"/>
                  </a:cubicBezTo>
                  <a:cubicBezTo>
                    <a:pt x="7" y="6"/>
                    <a:pt x="7" y="6"/>
                    <a:pt x="7" y="6"/>
                  </a:cubicBezTo>
                  <a:cubicBezTo>
                    <a:pt x="7" y="4"/>
                    <a:pt x="7" y="4"/>
                    <a:pt x="7" y="4"/>
                  </a:cubicBezTo>
                  <a:cubicBezTo>
                    <a:pt x="7" y="0"/>
                    <a:pt x="7" y="0"/>
                    <a:pt x="7" y="0"/>
                  </a:cubicBezTo>
                  <a:cubicBezTo>
                    <a:pt x="4" y="2"/>
                    <a:pt x="4" y="2"/>
                    <a:pt x="4" y="2"/>
                  </a:cubicBezTo>
                  <a:cubicBezTo>
                    <a:pt x="1" y="3"/>
                    <a:pt x="1" y="3"/>
                    <a:pt x="1" y="3"/>
                  </a:cubicBezTo>
                  <a:cubicBezTo>
                    <a:pt x="0" y="7"/>
                    <a:pt x="0" y="7"/>
                    <a:pt x="0" y="7"/>
                  </a:cubicBezTo>
                  <a:cubicBezTo>
                    <a:pt x="0" y="11"/>
                    <a:pt x="0" y="11"/>
                    <a:pt x="0" y="11"/>
                  </a:cubicBezTo>
                  <a:cubicBezTo>
                    <a:pt x="2" y="12"/>
                    <a:pt x="2" y="12"/>
                    <a:pt x="2" y="12"/>
                  </a:cubicBezTo>
                  <a:cubicBezTo>
                    <a:pt x="3" y="16"/>
                    <a:pt x="3" y="16"/>
                    <a:pt x="3" y="16"/>
                  </a:cubicBezTo>
                  <a:cubicBezTo>
                    <a:pt x="4" y="15"/>
                    <a:pt x="4" y="15"/>
                    <a:pt x="4" y="15"/>
                  </a:cubicBezTo>
                  <a:lnTo>
                    <a:pt x="6" y="1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0" name="Freeform 363"/>
            <p:cNvSpPr>
              <a:spLocks/>
            </p:cNvSpPr>
            <p:nvPr/>
          </p:nvSpPr>
          <p:spPr bwMode="auto">
            <a:xfrm>
              <a:off x="4567238" y="2771452"/>
              <a:ext cx="85725" cy="77788"/>
            </a:xfrm>
            <a:custGeom>
              <a:avLst/>
              <a:gdLst/>
              <a:ahLst/>
              <a:cxnLst>
                <a:cxn ang="0">
                  <a:pos x="18" y="30"/>
                </a:cxn>
                <a:cxn ang="0">
                  <a:pos x="24" y="42"/>
                </a:cxn>
                <a:cxn ang="0">
                  <a:pos x="36" y="48"/>
                </a:cxn>
                <a:cxn ang="0">
                  <a:pos x="48" y="54"/>
                </a:cxn>
                <a:cxn ang="0">
                  <a:pos x="54" y="60"/>
                </a:cxn>
                <a:cxn ang="0">
                  <a:pos x="60" y="48"/>
                </a:cxn>
                <a:cxn ang="0">
                  <a:pos x="66" y="36"/>
                </a:cxn>
                <a:cxn ang="0">
                  <a:pos x="60" y="24"/>
                </a:cxn>
                <a:cxn ang="0">
                  <a:pos x="60" y="24"/>
                </a:cxn>
                <a:cxn ang="0">
                  <a:pos x="54" y="18"/>
                </a:cxn>
                <a:cxn ang="0">
                  <a:pos x="48" y="12"/>
                </a:cxn>
                <a:cxn ang="0">
                  <a:pos x="36" y="6"/>
                </a:cxn>
                <a:cxn ang="0">
                  <a:pos x="24" y="6"/>
                </a:cxn>
                <a:cxn ang="0">
                  <a:pos x="18" y="0"/>
                </a:cxn>
                <a:cxn ang="0">
                  <a:pos x="6" y="6"/>
                </a:cxn>
                <a:cxn ang="0">
                  <a:pos x="0" y="12"/>
                </a:cxn>
                <a:cxn ang="0">
                  <a:pos x="6" y="24"/>
                </a:cxn>
                <a:cxn ang="0">
                  <a:pos x="18" y="30"/>
                </a:cxn>
              </a:cxnLst>
              <a:rect l="0" t="0" r="r" b="b"/>
              <a:pathLst>
                <a:path w="66" h="60">
                  <a:moveTo>
                    <a:pt x="18" y="30"/>
                  </a:moveTo>
                  <a:lnTo>
                    <a:pt x="24" y="42"/>
                  </a:lnTo>
                  <a:lnTo>
                    <a:pt x="36" y="48"/>
                  </a:lnTo>
                  <a:lnTo>
                    <a:pt x="48" y="54"/>
                  </a:lnTo>
                  <a:lnTo>
                    <a:pt x="54" y="60"/>
                  </a:lnTo>
                  <a:lnTo>
                    <a:pt x="60" y="48"/>
                  </a:lnTo>
                  <a:lnTo>
                    <a:pt x="66" y="36"/>
                  </a:lnTo>
                  <a:lnTo>
                    <a:pt x="60" y="24"/>
                  </a:lnTo>
                  <a:lnTo>
                    <a:pt x="60" y="24"/>
                  </a:lnTo>
                  <a:lnTo>
                    <a:pt x="54" y="18"/>
                  </a:lnTo>
                  <a:lnTo>
                    <a:pt x="48" y="12"/>
                  </a:lnTo>
                  <a:lnTo>
                    <a:pt x="36" y="6"/>
                  </a:lnTo>
                  <a:lnTo>
                    <a:pt x="24" y="6"/>
                  </a:lnTo>
                  <a:lnTo>
                    <a:pt x="18" y="0"/>
                  </a:lnTo>
                  <a:lnTo>
                    <a:pt x="6" y="6"/>
                  </a:lnTo>
                  <a:lnTo>
                    <a:pt x="0" y="12"/>
                  </a:lnTo>
                  <a:lnTo>
                    <a:pt x="6" y="24"/>
                  </a:lnTo>
                  <a:lnTo>
                    <a:pt x="18" y="3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1" name="Freeform 364"/>
            <p:cNvSpPr>
              <a:spLocks/>
            </p:cNvSpPr>
            <p:nvPr/>
          </p:nvSpPr>
          <p:spPr bwMode="auto">
            <a:xfrm>
              <a:off x="4503738" y="3662040"/>
              <a:ext cx="393700" cy="290512"/>
            </a:xfrm>
            <a:custGeom>
              <a:avLst/>
              <a:gdLst/>
              <a:ahLst/>
              <a:cxnLst>
                <a:cxn ang="0">
                  <a:pos x="66" y="223"/>
                </a:cxn>
                <a:cxn ang="0">
                  <a:pos x="78" y="205"/>
                </a:cxn>
                <a:cxn ang="0">
                  <a:pos x="102" y="205"/>
                </a:cxn>
                <a:cxn ang="0">
                  <a:pos x="138" y="217"/>
                </a:cxn>
                <a:cxn ang="0">
                  <a:pos x="162" y="205"/>
                </a:cxn>
                <a:cxn ang="0">
                  <a:pos x="198" y="205"/>
                </a:cxn>
                <a:cxn ang="0">
                  <a:pos x="228" y="199"/>
                </a:cxn>
                <a:cxn ang="0">
                  <a:pos x="258" y="174"/>
                </a:cxn>
                <a:cxn ang="0">
                  <a:pos x="288" y="138"/>
                </a:cxn>
                <a:cxn ang="0">
                  <a:pos x="300" y="66"/>
                </a:cxn>
                <a:cxn ang="0">
                  <a:pos x="288" y="54"/>
                </a:cxn>
                <a:cxn ang="0">
                  <a:pos x="282" y="24"/>
                </a:cxn>
                <a:cxn ang="0">
                  <a:pos x="282" y="18"/>
                </a:cxn>
                <a:cxn ang="0">
                  <a:pos x="282" y="18"/>
                </a:cxn>
                <a:cxn ang="0">
                  <a:pos x="270" y="6"/>
                </a:cxn>
                <a:cxn ang="0">
                  <a:pos x="222" y="0"/>
                </a:cxn>
                <a:cxn ang="0">
                  <a:pos x="114" y="72"/>
                </a:cxn>
                <a:cxn ang="0">
                  <a:pos x="78" y="90"/>
                </a:cxn>
                <a:cxn ang="0">
                  <a:pos x="78" y="90"/>
                </a:cxn>
                <a:cxn ang="0">
                  <a:pos x="78" y="144"/>
                </a:cxn>
                <a:cxn ang="0">
                  <a:pos x="66" y="162"/>
                </a:cxn>
                <a:cxn ang="0">
                  <a:pos x="24" y="168"/>
                </a:cxn>
                <a:cxn ang="0">
                  <a:pos x="0" y="168"/>
                </a:cxn>
                <a:cxn ang="0">
                  <a:pos x="12" y="193"/>
                </a:cxn>
                <a:cxn ang="0">
                  <a:pos x="36" y="217"/>
                </a:cxn>
                <a:cxn ang="0">
                  <a:pos x="48" y="217"/>
                </a:cxn>
                <a:cxn ang="0">
                  <a:pos x="60" y="223"/>
                </a:cxn>
                <a:cxn ang="0">
                  <a:pos x="66" y="223"/>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82" y="18"/>
                  </a:lnTo>
                  <a:lnTo>
                    <a:pt x="270" y="6"/>
                  </a:lnTo>
                  <a:lnTo>
                    <a:pt x="222" y="0"/>
                  </a:lnTo>
                  <a:lnTo>
                    <a:pt x="114" y="72"/>
                  </a:lnTo>
                  <a:lnTo>
                    <a:pt x="78" y="90"/>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2" name="Freeform 365"/>
            <p:cNvSpPr>
              <a:spLocks/>
            </p:cNvSpPr>
            <p:nvPr/>
          </p:nvSpPr>
          <p:spPr bwMode="auto">
            <a:xfrm>
              <a:off x="4503738" y="3662040"/>
              <a:ext cx="393700" cy="290512"/>
            </a:xfrm>
            <a:custGeom>
              <a:avLst/>
              <a:gdLst/>
              <a:ahLst/>
              <a:cxnLst>
                <a:cxn ang="0">
                  <a:pos x="66" y="223"/>
                </a:cxn>
                <a:cxn ang="0">
                  <a:pos x="78" y="205"/>
                </a:cxn>
                <a:cxn ang="0">
                  <a:pos x="102" y="205"/>
                </a:cxn>
                <a:cxn ang="0">
                  <a:pos x="138" y="217"/>
                </a:cxn>
                <a:cxn ang="0">
                  <a:pos x="162" y="205"/>
                </a:cxn>
                <a:cxn ang="0">
                  <a:pos x="198" y="205"/>
                </a:cxn>
                <a:cxn ang="0">
                  <a:pos x="228" y="199"/>
                </a:cxn>
                <a:cxn ang="0">
                  <a:pos x="258" y="174"/>
                </a:cxn>
                <a:cxn ang="0">
                  <a:pos x="288" y="138"/>
                </a:cxn>
                <a:cxn ang="0">
                  <a:pos x="300" y="66"/>
                </a:cxn>
                <a:cxn ang="0">
                  <a:pos x="288" y="54"/>
                </a:cxn>
                <a:cxn ang="0">
                  <a:pos x="282" y="24"/>
                </a:cxn>
                <a:cxn ang="0">
                  <a:pos x="282" y="18"/>
                </a:cxn>
                <a:cxn ang="0">
                  <a:pos x="282" y="18"/>
                </a:cxn>
                <a:cxn ang="0">
                  <a:pos x="270" y="6"/>
                </a:cxn>
                <a:cxn ang="0">
                  <a:pos x="222" y="0"/>
                </a:cxn>
                <a:cxn ang="0">
                  <a:pos x="114" y="72"/>
                </a:cxn>
                <a:cxn ang="0">
                  <a:pos x="78" y="90"/>
                </a:cxn>
                <a:cxn ang="0">
                  <a:pos x="78" y="90"/>
                </a:cxn>
                <a:cxn ang="0">
                  <a:pos x="78" y="144"/>
                </a:cxn>
                <a:cxn ang="0">
                  <a:pos x="66" y="162"/>
                </a:cxn>
                <a:cxn ang="0">
                  <a:pos x="24" y="168"/>
                </a:cxn>
                <a:cxn ang="0">
                  <a:pos x="0" y="168"/>
                </a:cxn>
                <a:cxn ang="0">
                  <a:pos x="12" y="193"/>
                </a:cxn>
                <a:cxn ang="0">
                  <a:pos x="36" y="217"/>
                </a:cxn>
                <a:cxn ang="0">
                  <a:pos x="48" y="217"/>
                </a:cxn>
                <a:cxn ang="0">
                  <a:pos x="60" y="223"/>
                </a:cxn>
                <a:cxn ang="0">
                  <a:pos x="66" y="223"/>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82" y="18"/>
                  </a:lnTo>
                  <a:lnTo>
                    <a:pt x="270" y="6"/>
                  </a:lnTo>
                  <a:lnTo>
                    <a:pt x="222" y="0"/>
                  </a:lnTo>
                  <a:lnTo>
                    <a:pt x="114" y="72"/>
                  </a:lnTo>
                  <a:lnTo>
                    <a:pt x="78" y="90"/>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9525">
              <a:solidFill>
                <a:srgbClr val="0085C3"/>
              </a:solidFill>
              <a:round/>
              <a:headEnd/>
              <a:tailEnd/>
            </a:ln>
          </p:spPr>
          <p:txBody>
            <a:bodyPr/>
            <a:lstStyle/>
            <a:p>
              <a:endParaRPr lang="en-US" dirty="0">
                <a:solidFill>
                  <a:srgbClr val="444444"/>
                </a:solidFill>
              </a:endParaRPr>
            </a:p>
          </p:txBody>
        </p:sp>
        <p:sp>
          <p:nvSpPr>
            <p:cNvPr id="103" name="Freeform 366"/>
            <p:cNvSpPr>
              <a:spLocks/>
            </p:cNvSpPr>
            <p:nvPr/>
          </p:nvSpPr>
          <p:spPr bwMode="auto">
            <a:xfrm>
              <a:off x="4198938" y="3622352"/>
              <a:ext cx="407987" cy="384175"/>
            </a:xfrm>
            <a:custGeom>
              <a:avLst/>
              <a:gdLst/>
              <a:ahLst/>
              <a:cxnLst>
                <a:cxn ang="0">
                  <a:pos x="24" y="44"/>
                </a:cxn>
                <a:cxn ang="0">
                  <a:pos x="27" y="40"/>
                </a:cxn>
                <a:cxn ang="0">
                  <a:pos x="32" y="36"/>
                </a:cxn>
                <a:cxn ang="0">
                  <a:pos x="38" y="33"/>
                </a:cxn>
                <a:cxn ang="0">
                  <a:pos x="39" y="33"/>
                </a:cxn>
                <a:cxn ang="0">
                  <a:pos x="43" y="33"/>
                </a:cxn>
                <a:cxn ang="0">
                  <a:pos x="50" y="32"/>
                </a:cxn>
                <a:cxn ang="0">
                  <a:pos x="51" y="29"/>
                </a:cxn>
                <a:cxn ang="0">
                  <a:pos x="52" y="20"/>
                </a:cxn>
                <a:cxn ang="0">
                  <a:pos x="49" y="20"/>
                </a:cxn>
                <a:cxn ang="0">
                  <a:pos x="47" y="18"/>
                </a:cxn>
                <a:cxn ang="0">
                  <a:pos x="21" y="0"/>
                </a:cxn>
                <a:cxn ang="0">
                  <a:pos x="18" y="0"/>
                </a:cxn>
                <a:cxn ang="0">
                  <a:pos x="21" y="29"/>
                </a:cxn>
                <a:cxn ang="0">
                  <a:pos x="23" y="30"/>
                </a:cxn>
                <a:cxn ang="0">
                  <a:pos x="20" y="32"/>
                </a:cxn>
                <a:cxn ang="0">
                  <a:pos x="6" y="32"/>
                </a:cxn>
                <a:cxn ang="0">
                  <a:pos x="5" y="33"/>
                </a:cxn>
                <a:cxn ang="0">
                  <a:pos x="3" y="31"/>
                </a:cxn>
                <a:cxn ang="0">
                  <a:pos x="0" y="34"/>
                </a:cxn>
                <a:cxn ang="0">
                  <a:pos x="0" y="35"/>
                </a:cxn>
                <a:cxn ang="0">
                  <a:pos x="1" y="38"/>
                </a:cxn>
                <a:cxn ang="0">
                  <a:pos x="3" y="42"/>
                </a:cxn>
                <a:cxn ang="0">
                  <a:pos x="2" y="42"/>
                </a:cxn>
                <a:cxn ang="0">
                  <a:pos x="2" y="43"/>
                </a:cxn>
                <a:cxn ang="0">
                  <a:pos x="6" y="43"/>
                </a:cxn>
                <a:cxn ang="0">
                  <a:pos x="10" y="42"/>
                </a:cxn>
                <a:cxn ang="0">
                  <a:pos x="11" y="44"/>
                </a:cxn>
                <a:cxn ang="0">
                  <a:pos x="13" y="49"/>
                </a:cxn>
                <a:cxn ang="0">
                  <a:pos x="15" y="48"/>
                </a:cxn>
                <a:cxn ang="0">
                  <a:pos x="17" y="48"/>
                </a:cxn>
                <a:cxn ang="0">
                  <a:pos x="18" y="48"/>
                </a:cxn>
                <a:cxn ang="0">
                  <a:pos x="20" y="49"/>
                </a:cxn>
                <a:cxn ang="0">
                  <a:pos x="22" y="49"/>
                </a:cxn>
                <a:cxn ang="0">
                  <a:pos x="23" y="49"/>
                </a:cxn>
                <a:cxn ang="0">
                  <a:pos x="23" y="47"/>
                </a:cxn>
                <a:cxn ang="0">
                  <a:pos x="24" y="44"/>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4" name="Freeform 367"/>
            <p:cNvSpPr>
              <a:spLocks/>
            </p:cNvSpPr>
            <p:nvPr/>
          </p:nvSpPr>
          <p:spPr bwMode="auto">
            <a:xfrm>
              <a:off x="5526088" y="3976365"/>
              <a:ext cx="234950" cy="317500"/>
            </a:xfrm>
            <a:custGeom>
              <a:avLst/>
              <a:gdLst/>
              <a:ahLst/>
              <a:cxnLst>
                <a:cxn ang="0">
                  <a:pos x="72" y="18"/>
                </a:cxn>
                <a:cxn ang="0">
                  <a:pos x="48" y="12"/>
                </a:cxn>
                <a:cxn ang="0">
                  <a:pos x="48" y="6"/>
                </a:cxn>
                <a:cxn ang="0">
                  <a:pos x="30" y="18"/>
                </a:cxn>
                <a:cxn ang="0">
                  <a:pos x="42" y="36"/>
                </a:cxn>
                <a:cxn ang="0">
                  <a:pos x="84" y="60"/>
                </a:cxn>
                <a:cxn ang="0">
                  <a:pos x="126" y="66"/>
                </a:cxn>
                <a:cxn ang="0">
                  <a:pos x="78" y="120"/>
                </a:cxn>
                <a:cxn ang="0">
                  <a:pos x="36" y="132"/>
                </a:cxn>
                <a:cxn ang="0">
                  <a:pos x="18" y="144"/>
                </a:cxn>
                <a:cxn ang="0">
                  <a:pos x="24" y="150"/>
                </a:cxn>
                <a:cxn ang="0">
                  <a:pos x="18" y="144"/>
                </a:cxn>
                <a:cxn ang="0">
                  <a:pos x="18" y="150"/>
                </a:cxn>
                <a:cxn ang="0">
                  <a:pos x="0" y="168"/>
                </a:cxn>
                <a:cxn ang="0">
                  <a:pos x="0" y="228"/>
                </a:cxn>
                <a:cxn ang="0">
                  <a:pos x="12" y="246"/>
                </a:cxn>
                <a:cxn ang="0">
                  <a:pos x="42" y="204"/>
                </a:cxn>
                <a:cxn ang="0">
                  <a:pos x="90" y="180"/>
                </a:cxn>
                <a:cxn ang="0">
                  <a:pos x="132" y="132"/>
                </a:cxn>
                <a:cxn ang="0">
                  <a:pos x="168" y="48"/>
                </a:cxn>
                <a:cxn ang="0">
                  <a:pos x="180" y="0"/>
                </a:cxn>
                <a:cxn ang="0">
                  <a:pos x="72" y="18"/>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5" name="Freeform 368"/>
            <p:cNvSpPr>
              <a:spLocks/>
            </p:cNvSpPr>
            <p:nvPr/>
          </p:nvSpPr>
          <p:spPr bwMode="auto">
            <a:xfrm>
              <a:off x="4849813" y="3952552"/>
              <a:ext cx="31750" cy="123825"/>
            </a:xfrm>
            <a:custGeom>
              <a:avLst/>
              <a:gdLst/>
              <a:ahLst/>
              <a:cxnLst>
                <a:cxn ang="0">
                  <a:pos x="12" y="0"/>
                </a:cxn>
                <a:cxn ang="0">
                  <a:pos x="12" y="0"/>
                </a:cxn>
                <a:cxn ang="0">
                  <a:pos x="24" y="42"/>
                </a:cxn>
                <a:cxn ang="0">
                  <a:pos x="0" y="48"/>
                </a:cxn>
                <a:cxn ang="0">
                  <a:pos x="0" y="66"/>
                </a:cxn>
                <a:cxn ang="0">
                  <a:pos x="18" y="96"/>
                </a:cxn>
                <a:cxn ang="0">
                  <a:pos x="24" y="96"/>
                </a:cxn>
                <a:cxn ang="0">
                  <a:pos x="12" y="0"/>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6" name="Freeform 369"/>
            <p:cNvSpPr>
              <a:spLocks/>
            </p:cNvSpPr>
            <p:nvPr/>
          </p:nvSpPr>
          <p:spPr bwMode="auto">
            <a:xfrm>
              <a:off x="4849813" y="3952552"/>
              <a:ext cx="31750" cy="123825"/>
            </a:xfrm>
            <a:custGeom>
              <a:avLst/>
              <a:gdLst/>
              <a:ahLst/>
              <a:cxnLst>
                <a:cxn ang="0">
                  <a:pos x="12" y="0"/>
                </a:cxn>
                <a:cxn ang="0">
                  <a:pos x="12" y="0"/>
                </a:cxn>
                <a:cxn ang="0">
                  <a:pos x="24" y="42"/>
                </a:cxn>
                <a:cxn ang="0">
                  <a:pos x="0" y="48"/>
                </a:cxn>
                <a:cxn ang="0">
                  <a:pos x="0" y="66"/>
                </a:cxn>
                <a:cxn ang="0">
                  <a:pos x="18" y="96"/>
                </a:cxn>
                <a:cxn ang="0">
                  <a:pos x="24" y="96"/>
                </a:cxn>
              </a:cxnLst>
              <a:rect l="0" t="0" r="r" b="b"/>
              <a:pathLst>
                <a:path w="24" h="96">
                  <a:moveTo>
                    <a:pt x="12" y="0"/>
                  </a:moveTo>
                  <a:lnTo>
                    <a:pt x="12" y="0"/>
                  </a:lnTo>
                  <a:lnTo>
                    <a:pt x="24" y="42"/>
                  </a:lnTo>
                  <a:lnTo>
                    <a:pt x="0" y="48"/>
                  </a:lnTo>
                  <a:lnTo>
                    <a:pt x="0" y="66"/>
                  </a:lnTo>
                  <a:lnTo>
                    <a:pt x="18" y="96"/>
                  </a:lnTo>
                  <a:lnTo>
                    <a:pt x="24" y="96"/>
                  </a:lnTo>
                </a:path>
              </a:pathLst>
            </a:custGeom>
            <a:grpFill/>
            <a:ln w="9525">
              <a:solidFill>
                <a:srgbClr val="0085C3"/>
              </a:solidFill>
              <a:round/>
              <a:headEnd/>
              <a:tailEnd/>
            </a:ln>
          </p:spPr>
          <p:txBody>
            <a:bodyPr/>
            <a:lstStyle/>
            <a:p>
              <a:endParaRPr lang="en-US" dirty="0">
                <a:solidFill>
                  <a:srgbClr val="444444"/>
                </a:solidFill>
              </a:endParaRPr>
            </a:p>
          </p:txBody>
        </p:sp>
        <p:sp>
          <p:nvSpPr>
            <p:cNvPr id="107" name="Freeform 370"/>
            <p:cNvSpPr>
              <a:spLocks/>
            </p:cNvSpPr>
            <p:nvPr/>
          </p:nvSpPr>
          <p:spPr bwMode="auto">
            <a:xfrm>
              <a:off x="4833938" y="3671565"/>
              <a:ext cx="258762" cy="404812"/>
            </a:xfrm>
            <a:custGeom>
              <a:avLst/>
              <a:gdLst/>
              <a:ahLst/>
              <a:cxnLst>
                <a:cxn ang="0">
                  <a:pos x="36" y="313"/>
                </a:cxn>
                <a:cxn ang="0">
                  <a:pos x="60" y="307"/>
                </a:cxn>
                <a:cxn ang="0">
                  <a:pos x="96" y="295"/>
                </a:cxn>
                <a:cxn ang="0">
                  <a:pos x="102" y="283"/>
                </a:cxn>
                <a:cxn ang="0">
                  <a:pos x="132" y="277"/>
                </a:cxn>
                <a:cxn ang="0">
                  <a:pos x="180" y="247"/>
                </a:cxn>
                <a:cxn ang="0">
                  <a:pos x="180" y="247"/>
                </a:cxn>
                <a:cxn ang="0">
                  <a:pos x="162" y="211"/>
                </a:cxn>
                <a:cxn ang="0">
                  <a:pos x="168" y="193"/>
                </a:cxn>
                <a:cxn ang="0">
                  <a:pos x="174" y="162"/>
                </a:cxn>
                <a:cxn ang="0">
                  <a:pos x="192" y="150"/>
                </a:cxn>
                <a:cxn ang="0">
                  <a:pos x="198" y="78"/>
                </a:cxn>
                <a:cxn ang="0">
                  <a:pos x="54" y="0"/>
                </a:cxn>
                <a:cxn ang="0">
                  <a:pos x="30" y="12"/>
                </a:cxn>
                <a:cxn ang="0">
                  <a:pos x="30" y="18"/>
                </a:cxn>
                <a:cxn ang="0">
                  <a:pos x="36" y="48"/>
                </a:cxn>
                <a:cxn ang="0">
                  <a:pos x="48" y="60"/>
                </a:cxn>
                <a:cxn ang="0">
                  <a:pos x="36" y="132"/>
                </a:cxn>
                <a:cxn ang="0">
                  <a:pos x="6" y="168"/>
                </a:cxn>
                <a:cxn ang="0">
                  <a:pos x="12" y="168"/>
                </a:cxn>
                <a:cxn ang="0">
                  <a:pos x="6" y="168"/>
                </a:cxn>
                <a:cxn ang="0">
                  <a:pos x="0" y="175"/>
                </a:cxn>
                <a:cxn ang="0">
                  <a:pos x="12" y="193"/>
                </a:cxn>
                <a:cxn ang="0">
                  <a:pos x="30" y="199"/>
                </a:cxn>
                <a:cxn ang="0">
                  <a:pos x="24" y="217"/>
                </a:cxn>
                <a:cxn ang="0">
                  <a:pos x="36" y="313"/>
                </a:cxn>
              </a:cxnLst>
              <a:rect l="0" t="0" r="r" b="b"/>
              <a:pathLst>
                <a:path w="198" h="313">
                  <a:moveTo>
                    <a:pt x="36" y="313"/>
                  </a:moveTo>
                  <a:lnTo>
                    <a:pt x="60" y="307"/>
                  </a:lnTo>
                  <a:lnTo>
                    <a:pt x="96" y="295"/>
                  </a:lnTo>
                  <a:lnTo>
                    <a:pt x="102" y="283"/>
                  </a:lnTo>
                  <a:lnTo>
                    <a:pt x="132" y="277"/>
                  </a:lnTo>
                  <a:lnTo>
                    <a:pt x="180" y="24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08" name="Freeform 371"/>
            <p:cNvSpPr>
              <a:spLocks/>
            </p:cNvSpPr>
            <p:nvPr/>
          </p:nvSpPr>
          <p:spPr bwMode="auto">
            <a:xfrm>
              <a:off x="4833938" y="3671565"/>
              <a:ext cx="258762" cy="404812"/>
            </a:xfrm>
            <a:custGeom>
              <a:avLst/>
              <a:gdLst/>
              <a:ahLst/>
              <a:cxnLst>
                <a:cxn ang="0">
                  <a:pos x="36" y="313"/>
                </a:cxn>
                <a:cxn ang="0">
                  <a:pos x="60" y="307"/>
                </a:cxn>
                <a:cxn ang="0">
                  <a:pos x="96" y="295"/>
                </a:cxn>
                <a:cxn ang="0">
                  <a:pos x="102" y="283"/>
                </a:cxn>
                <a:cxn ang="0">
                  <a:pos x="132" y="277"/>
                </a:cxn>
                <a:cxn ang="0">
                  <a:pos x="180" y="247"/>
                </a:cxn>
                <a:cxn ang="0">
                  <a:pos x="180" y="247"/>
                </a:cxn>
                <a:cxn ang="0">
                  <a:pos x="162" y="211"/>
                </a:cxn>
                <a:cxn ang="0">
                  <a:pos x="168" y="193"/>
                </a:cxn>
                <a:cxn ang="0">
                  <a:pos x="174" y="162"/>
                </a:cxn>
                <a:cxn ang="0">
                  <a:pos x="192" y="150"/>
                </a:cxn>
                <a:cxn ang="0">
                  <a:pos x="198" y="78"/>
                </a:cxn>
                <a:cxn ang="0">
                  <a:pos x="54" y="0"/>
                </a:cxn>
                <a:cxn ang="0">
                  <a:pos x="30" y="12"/>
                </a:cxn>
                <a:cxn ang="0">
                  <a:pos x="30" y="18"/>
                </a:cxn>
                <a:cxn ang="0">
                  <a:pos x="36" y="48"/>
                </a:cxn>
                <a:cxn ang="0">
                  <a:pos x="48" y="60"/>
                </a:cxn>
                <a:cxn ang="0">
                  <a:pos x="36" y="132"/>
                </a:cxn>
                <a:cxn ang="0">
                  <a:pos x="6" y="168"/>
                </a:cxn>
                <a:cxn ang="0">
                  <a:pos x="12" y="168"/>
                </a:cxn>
                <a:cxn ang="0">
                  <a:pos x="6" y="168"/>
                </a:cxn>
                <a:cxn ang="0">
                  <a:pos x="0" y="175"/>
                </a:cxn>
                <a:cxn ang="0">
                  <a:pos x="12" y="193"/>
                </a:cxn>
                <a:cxn ang="0">
                  <a:pos x="30" y="199"/>
                </a:cxn>
                <a:cxn ang="0">
                  <a:pos x="24" y="217"/>
                </a:cxn>
              </a:cxnLst>
              <a:rect l="0" t="0" r="r" b="b"/>
              <a:pathLst>
                <a:path w="198" h="313">
                  <a:moveTo>
                    <a:pt x="36" y="313"/>
                  </a:moveTo>
                  <a:lnTo>
                    <a:pt x="60" y="307"/>
                  </a:lnTo>
                  <a:lnTo>
                    <a:pt x="96" y="295"/>
                  </a:lnTo>
                  <a:lnTo>
                    <a:pt x="102" y="283"/>
                  </a:lnTo>
                  <a:lnTo>
                    <a:pt x="132" y="277"/>
                  </a:lnTo>
                  <a:lnTo>
                    <a:pt x="180" y="24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9525">
              <a:solidFill>
                <a:srgbClr val="0085C3"/>
              </a:solidFill>
              <a:round/>
              <a:headEnd/>
              <a:tailEnd/>
            </a:ln>
          </p:spPr>
          <p:txBody>
            <a:bodyPr/>
            <a:lstStyle/>
            <a:p>
              <a:endParaRPr lang="en-US" dirty="0">
                <a:solidFill>
                  <a:srgbClr val="444444"/>
                </a:solidFill>
              </a:endParaRPr>
            </a:p>
          </p:txBody>
        </p:sp>
        <p:sp>
          <p:nvSpPr>
            <p:cNvPr id="109" name="Freeform 372"/>
            <p:cNvSpPr>
              <a:spLocks/>
            </p:cNvSpPr>
            <p:nvPr/>
          </p:nvSpPr>
          <p:spPr bwMode="auto">
            <a:xfrm>
              <a:off x="4913313" y="4817740"/>
              <a:ext cx="398462" cy="354012"/>
            </a:xfrm>
            <a:custGeom>
              <a:avLst/>
              <a:gdLst/>
              <a:ahLst/>
              <a:cxnLst>
                <a:cxn ang="0">
                  <a:pos x="48" y="1"/>
                </a:cxn>
                <a:cxn ang="0">
                  <a:pos x="47" y="1"/>
                </a:cxn>
                <a:cxn ang="0">
                  <a:pos x="46" y="2"/>
                </a:cxn>
                <a:cxn ang="0">
                  <a:pos x="47" y="1"/>
                </a:cxn>
                <a:cxn ang="0">
                  <a:pos x="41" y="0"/>
                </a:cxn>
                <a:cxn ang="0">
                  <a:pos x="34" y="5"/>
                </a:cxn>
                <a:cxn ang="0">
                  <a:pos x="26" y="12"/>
                </a:cxn>
                <a:cxn ang="0">
                  <a:pos x="22" y="12"/>
                </a:cxn>
                <a:cxn ang="0">
                  <a:pos x="17" y="15"/>
                </a:cxn>
                <a:cxn ang="0">
                  <a:pos x="14" y="15"/>
                </a:cxn>
                <a:cxn ang="0">
                  <a:pos x="13" y="13"/>
                </a:cxn>
                <a:cxn ang="0">
                  <a:pos x="11" y="9"/>
                </a:cxn>
                <a:cxn ang="0">
                  <a:pos x="11" y="11"/>
                </a:cxn>
                <a:cxn ang="0">
                  <a:pos x="11" y="9"/>
                </a:cxn>
                <a:cxn ang="0">
                  <a:pos x="9" y="23"/>
                </a:cxn>
                <a:cxn ang="0">
                  <a:pos x="6" y="24"/>
                </a:cxn>
                <a:cxn ang="0">
                  <a:pos x="1" y="22"/>
                </a:cxn>
                <a:cxn ang="0">
                  <a:pos x="0" y="24"/>
                </a:cxn>
                <a:cxn ang="0">
                  <a:pos x="2" y="27"/>
                </a:cxn>
                <a:cxn ang="0">
                  <a:pos x="5" y="35"/>
                </a:cxn>
                <a:cxn ang="0">
                  <a:pos x="5" y="39"/>
                </a:cxn>
                <a:cxn ang="0">
                  <a:pos x="9" y="45"/>
                </a:cxn>
                <a:cxn ang="0">
                  <a:pos x="17" y="43"/>
                </a:cxn>
                <a:cxn ang="0">
                  <a:pos x="25" y="42"/>
                </a:cxn>
                <a:cxn ang="0">
                  <a:pos x="32" y="41"/>
                </a:cxn>
                <a:cxn ang="0">
                  <a:pos x="47" y="25"/>
                </a:cxn>
                <a:cxn ang="0">
                  <a:pos x="51" y="16"/>
                </a:cxn>
                <a:cxn ang="0">
                  <a:pos x="51" y="16"/>
                </a:cxn>
                <a:cxn ang="0">
                  <a:pos x="49" y="16"/>
                </a:cxn>
                <a:cxn ang="0">
                  <a:pos x="48" y="1"/>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0" name="Freeform 373"/>
            <p:cNvSpPr>
              <a:spLocks/>
            </p:cNvSpPr>
            <p:nvPr/>
          </p:nvSpPr>
          <p:spPr bwMode="auto">
            <a:xfrm>
              <a:off x="4999038" y="4701852"/>
              <a:ext cx="236537" cy="234950"/>
            </a:xfrm>
            <a:custGeom>
              <a:avLst/>
              <a:gdLst/>
              <a:ahLst/>
              <a:cxnLst>
                <a:cxn ang="0">
                  <a:pos x="144" y="54"/>
                </a:cxn>
                <a:cxn ang="0">
                  <a:pos x="132" y="54"/>
                </a:cxn>
                <a:cxn ang="0">
                  <a:pos x="114" y="30"/>
                </a:cxn>
                <a:cxn ang="0">
                  <a:pos x="102" y="6"/>
                </a:cxn>
                <a:cxn ang="0">
                  <a:pos x="96" y="6"/>
                </a:cxn>
                <a:cxn ang="0">
                  <a:pos x="84" y="12"/>
                </a:cxn>
                <a:cxn ang="0">
                  <a:pos x="96" y="6"/>
                </a:cxn>
                <a:cxn ang="0">
                  <a:pos x="84" y="0"/>
                </a:cxn>
                <a:cxn ang="0">
                  <a:pos x="66" y="6"/>
                </a:cxn>
                <a:cxn ang="0">
                  <a:pos x="18" y="18"/>
                </a:cxn>
                <a:cxn ang="0">
                  <a:pos x="12" y="84"/>
                </a:cxn>
                <a:cxn ang="0">
                  <a:pos x="0" y="90"/>
                </a:cxn>
                <a:cxn ang="0">
                  <a:pos x="0" y="144"/>
                </a:cxn>
                <a:cxn ang="0">
                  <a:pos x="12" y="168"/>
                </a:cxn>
                <a:cxn ang="0">
                  <a:pos x="18" y="180"/>
                </a:cxn>
                <a:cxn ang="0">
                  <a:pos x="36" y="180"/>
                </a:cxn>
                <a:cxn ang="0">
                  <a:pos x="66" y="162"/>
                </a:cxn>
                <a:cxn ang="0">
                  <a:pos x="90" y="162"/>
                </a:cxn>
                <a:cxn ang="0">
                  <a:pos x="138" y="120"/>
                </a:cxn>
                <a:cxn ang="0">
                  <a:pos x="180" y="90"/>
                </a:cxn>
                <a:cxn ang="0">
                  <a:pos x="150" y="78"/>
                </a:cxn>
                <a:cxn ang="0">
                  <a:pos x="144" y="54"/>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1" name="Freeform 374"/>
            <p:cNvSpPr>
              <a:spLocks/>
            </p:cNvSpPr>
            <p:nvPr/>
          </p:nvSpPr>
          <p:spPr bwMode="auto">
            <a:xfrm>
              <a:off x="5241925" y="4520877"/>
              <a:ext cx="268288" cy="422275"/>
            </a:xfrm>
            <a:custGeom>
              <a:avLst/>
              <a:gdLst/>
              <a:ahLst/>
              <a:cxnLst>
                <a:cxn ang="0">
                  <a:pos x="22" y="2"/>
                </a:cxn>
                <a:cxn ang="0">
                  <a:pos x="17" y="3"/>
                </a:cxn>
                <a:cxn ang="0">
                  <a:pos x="17" y="4"/>
                </a:cxn>
                <a:cxn ang="0">
                  <a:pos x="17" y="3"/>
                </a:cxn>
                <a:cxn ang="0">
                  <a:pos x="16" y="3"/>
                </a:cxn>
                <a:cxn ang="0">
                  <a:pos x="16" y="8"/>
                </a:cxn>
                <a:cxn ang="0">
                  <a:pos x="19" y="13"/>
                </a:cxn>
                <a:cxn ang="0">
                  <a:pos x="19" y="16"/>
                </a:cxn>
                <a:cxn ang="0">
                  <a:pos x="16" y="18"/>
                </a:cxn>
                <a:cxn ang="0">
                  <a:pos x="15" y="16"/>
                </a:cxn>
                <a:cxn ang="0">
                  <a:pos x="13" y="13"/>
                </a:cxn>
                <a:cxn ang="0">
                  <a:pos x="9" y="11"/>
                </a:cxn>
                <a:cxn ang="0">
                  <a:pos x="0" y="15"/>
                </a:cxn>
                <a:cxn ang="0">
                  <a:pos x="0" y="16"/>
                </a:cxn>
                <a:cxn ang="0">
                  <a:pos x="1" y="16"/>
                </a:cxn>
                <a:cxn ang="0">
                  <a:pos x="2" y="15"/>
                </a:cxn>
                <a:cxn ang="0">
                  <a:pos x="1" y="16"/>
                </a:cxn>
                <a:cxn ang="0">
                  <a:pos x="9" y="19"/>
                </a:cxn>
                <a:cxn ang="0">
                  <a:pos x="9" y="23"/>
                </a:cxn>
                <a:cxn ang="0">
                  <a:pos x="9" y="28"/>
                </a:cxn>
                <a:cxn ang="0">
                  <a:pos x="7" y="36"/>
                </a:cxn>
                <a:cxn ang="0">
                  <a:pos x="5" y="39"/>
                </a:cxn>
                <a:cxn ang="0">
                  <a:pos x="6" y="39"/>
                </a:cxn>
                <a:cxn ang="0">
                  <a:pos x="7" y="54"/>
                </a:cxn>
                <a:cxn ang="0">
                  <a:pos x="9" y="54"/>
                </a:cxn>
                <a:cxn ang="0">
                  <a:pos x="9" y="51"/>
                </a:cxn>
                <a:cxn ang="0">
                  <a:pos x="16" y="45"/>
                </a:cxn>
                <a:cxn ang="0">
                  <a:pos x="18" y="40"/>
                </a:cxn>
                <a:cxn ang="0">
                  <a:pos x="16" y="31"/>
                </a:cxn>
                <a:cxn ang="0">
                  <a:pos x="21" y="25"/>
                </a:cxn>
                <a:cxn ang="0">
                  <a:pos x="30" y="20"/>
                </a:cxn>
                <a:cxn ang="0">
                  <a:pos x="33" y="16"/>
                </a:cxn>
                <a:cxn ang="0">
                  <a:pos x="34" y="11"/>
                </a:cxn>
                <a:cxn ang="0">
                  <a:pos x="33" y="4"/>
                </a:cxn>
                <a:cxn ang="0">
                  <a:pos x="33" y="0"/>
                </a:cxn>
                <a:cxn ang="0">
                  <a:pos x="33" y="0"/>
                </a:cxn>
                <a:cxn ang="0">
                  <a:pos x="30" y="1"/>
                </a:cxn>
                <a:cxn ang="0">
                  <a:pos x="22" y="2"/>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2" name="Freeform 375"/>
            <p:cNvSpPr>
              <a:spLocks/>
            </p:cNvSpPr>
            <p:nvPr/>
          </p:nvSpPr>
          <p:spPr bwMode="auto">
            <a:xfrm>
              <a:off x="5241925" y="4279577"/>
              <a:ext cx="260350" cy="265113"/>
            </a:xfrm>
            <a:custGeom>
              <a:avLst/>
              <a:gdLst/>
              <a:ahLst/>
              <a:cxnLst>
                <a:cxn ang="0">
                  <a:pos x="25" y="6"/>
                </a:cxn>
                <a:cxn ang="0">
                  <a:pos x="14" y="1"/>
                </a:cxn>
                <a:cxn ang="0">
                  <a:pos x="14" y="1"/>
                </a:cxn>
                <a:cxn ang="0">
                  <a:pos x="14" y="1"/>
                </a:cxn>
                <a:cxn ang="0">
                  <a:pos x="13" y="0"/>
                </a:cxn>
                <a:cxn ang="0">
                  <a:pos x="12" y="2"/>
                </a:cxn>
                <a:cxn ang="0">
                  <a:pos x="12" y="5"/>
                </a:cxn>
                <a:cxn ang="0">
                  <a:pos x="8" y="5"/>
                </a:cxn>
                <a:cxn ang="0">
                  <a:pos x="6" y="1"/>
                </a:cxn>
                <a:cxn ang="0">
                  <a:pos x="1" y="1"/>
                </a:cxn>
                <a:cxn ang="0">
                  <a:pos x="2" y="8"/>
                </a:cxn>
                <a:cxn ang="0">
                  <a:pos x="0" y="11"/>
                </a:cxn>
                <a:cxn ang="0">
                  <a:pos x="2" y="19"/>
                </a:cxn>
                <a:cxn ang="0">
                  <a:pos x="4" y="24"/>
                </a:cxn>
                <a:cxn ang="0">
                  <a:pos x="9" y="26"/>
                </a:cxn>
                <a:cxn ang="0">
                  <a:pos x="14" y="27"/>
                </a:cxn>
                <a:cxn ang="0">
                  <a:pos x="15" y="29"/>
                </a:cxn>
                <a:cxn ang="0">
                  <a:pos x="17" y="34"/>
                </a:cxn>
                <a:cxn ang="0">
                  <a:pos x="22" y="33"/>
                </a:cxn>
                <a:cxn ang="0">
                  <a:pos x="30" y="32"/>
                </a:cxn>
                <a:cxn ang="0">
                  <a:pos x="33" y="31"/>
                </a:cxn>
                <a:cxn ang="0">
                  <a:pos x="31" y="28"/>
                </a:cxn>
                <a:cxn ang="0">
                  <a:pos x="30" y="19"/>
                </a:cxn>
                <a:cxn ang="0">
                  <a:pos x="28" y="14"/>
                </a:cxn>
                <a:cxn ang="0">
                  <a:pos x="30" y="12"/>
                </a:cxn>
                <a:cxn ang="0">
                  <a:pos x="25" y="9"/>
                </a:cxn>
                <a:cxn ang="0">
                  <a:pos x="25" y="6"/>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3" name="Freeform 376"/>
            <p:cNvSpPr>
              <a:spLocks/>
            </p:cNvSpPr>
            <p:nvPr/>
          </p:nvSpPr>
          <p:spPr bwMode="auto">
            <a:xfrm>
              <a:off x="4802188" y="4403402"/>
              <a:ext cx="298450" cy="298450"/>
            </a:xfrm>
            <a:custGeom>
              <a:avLst/>
              <a:gdLst/>
              <a:ahLst/>
              <a:cxnLst>
                <a:cxn ang="0">
                  <a:pos x="4" y="37"/>
                </a:cxn>
                <a:cxn ang="0">
                  <a:pos x="18" y="37"/>
                </a:cxn>
                <a:cxn ang="0">
                  <a:pos x="20" y="38"/>
                </a:cxn>
                <a:cxn ang="0">
                  <a:pos x="28" y="38"/>
                </a:cxn>
                <a:cxn ang="0">
                  <a:pos x="34" y="37"/>
                </a:cxn>
                <a:cxn ang="0">
                  <a:pos x="32" y="33"/>
                </a:cxn>
                <a:cxn ang="0">
                  <a:pos x="32" y="22"/>
                </a:cxn>
                <a:cxn ang="0">
                  <a:pos x="38" y="21"/>
                </a:cxn>
                <a:cxn ang="0">
                  <a:pos x="38" y="17"/>
                </a:cxn>
                <a:cxn ang="0">
                  <a:pos x="37" y="17"/>
                </a:cxn>
                <a:cxn ang="0">
                  <a:pos x="38" y="17"/>
                </a:cxn>
                <a:cxn ang="0">
                  <a:pos x="32" y="16"/>
                </a:cxn>
                <a:cxn ang="0">
                  <a:pos x="30" y="4"/>
                </a:cxn>
                <a:cxn ang="0">
                  <a:pos x="24" y="4"/>
                </a:cxn>
                <a:cxn ang="0">
                  <a:pos x="21" y="6"/>
                </a:cxn>
                <a:cxn ang="0">
                  <a:pos x="18" y="6"/>
                </a:cxn>
                <a:cxn ang="0">
                  <a:pos x="12" y="0"/>
                </a:cxn>
                <a:cxn ang="0">
                  <a:pos x="4" y="0"/>
                </a:cxn>
                <a:cxn ang="0">
                  <a:pos x="1" y="2"/>
                </a:cxn>
                <a:cxn ang="0">
                  <a:pos x="3" y="15"/>
                </a:cxn>
                <a:cxn ang="0">
                  <a:pos x="4" y="21"/>
                </a:cxn>
                <a:cxn ang="0">
                  <a:pos x="0" y="28"/>
                </a:cxn>
                <a:cxn ang="0">
                  <a:pos x="0" y="36"/>
                </a:cxn>
                <a:cxn ang="0">
                  <a:pos x="2" y="35"/>
                </a:cxn>
                <a:cxn ang="0">
                  <a:pos x="4" y="37"/>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4" name="Freeform 377"/>
            <p:cNvSpPr>
              <a:spLocks/>
            </p:cNvSpPr>
            <p:nvPr/>
          </p:nvSpPr>
          <p:spPr bwMode="auto">
            <a:xfrm>
              <a:off x="4802188" y="4122415"/>
              <a:ext cx="463550" cy="460375"/>
            </a:xfrm>
            <a:custGeom>
              <a:avLst/>
              <a:gdLst/>
              <a:ahLst/>
              <a:cxnLst>
                <a:cxn ang="0">
                  <a:pos x="21" y="6"/>
                </a:cxn>
                <a:cxn ang="0">
                  <a:pos x="18" y="18"/>
                </a:cxn>
                <a:cxn ang="0">
                  <a:pos x="15" y="21"/>
                </a:cxn>
                <a:cxn ang="0">
                  <a:pos x="11" y="29"/>
                </a:cxn>
                <a:cxn ang="0">
                  <a:pos x="7" y="32"/>
                </a:cxn>
                <a:cxn ang="0">
                  <a:pos x="3" y="32"/>
                </a:cxn>
                <a:cxn ang="0">
                  <a:pos x="0" y="35"/>
                </a:cxn>
                <a:cxn ang="0">
                  <a:pos x="1" y="38"/>
                </a:cxn>
                <a:cxn ang="0">
                  <a:pos x="1" y="38"/>
                </a:cxn>
                <a:cxn ang="0">
                  <a:pos x="4" y="36"/>
                </a:cxn>
                <a:cxn ang="0">
                  <a:pos x="12" y="36"/>
                </a:cxn>
                <a:cxn ang="0">
                  <a:pos x="18" y="42"/>
                </a:cxn>
                <a:cxn ang="0">
                  <a:pos x="21" y="42"/>
                </a:cxn>
                <a:cxn ang="0">
                  <a:pos x="24" y="40"/>
                </a:cxn>
                <a:cxn ang="0">
                  <a:pos x="30" y="40"/>
                </a:cxn>
                <a:cxn ang="0">
                  <a:pos x="32" y="52"/>
                </a:cxn>
                <a:cxn ang="0">
                  <a:pos x="38" y="53"/>
                </a:cxn>
                <a:cxn ang="0">
                  <a:pos x="43" y="53"/>
                </a:cxn>
                <a:cxn ang="0">
                  <a:pos x="49" y="56"/>
                </a:cxn>
                <a:cxn ang="0">
                  <a:pos x="55" y="59"/>
                </a:cxn>
                <a:cxn ang="0">
                  <a:pos x="55" y="57"/>
                </a:cxn>
                <a:cxn ang="0">
                  <a:pos x="52" y="53"/>
                </a:cxn>
                <a:cxn ang="0">
                  <a:pos x="53" y="50"/>
                </a:cxn>
                <a:cxn ang="0">
                  <a:pos x="54" y="44"/>
                </a:cxn>
                <a:cxn ang="0">
                  <a:pos x="57" y="43"/>
                </a:cxn>
                <a:cxn ang="0">
                  <a:pos x="55" y="37"/>
                </a:cxn>
                <a:cxn ang="0">
                  <a:pos x="54" y="31"/>
                </a:cxn>
                <a:cxn ang="0">
                  <a:pos x="53" y="25"/>
                </a:cxn>
                <a:cxn ang="0">
                  <a:pos x="55" y="18"/>
                </a:cxn>
                <a:cxn ang="0">
                  <a:pos x="59" y="11"/>
                </a:cxn>
                <a:cxn ang="0">
                  <a:pos x="59" y="10"/>
                </a:cxn>
                <a:cxn ang="0">
                  <a:pos x="59" y="5"/>
                </a:cxn>
                <a:cxn ang="0">
                  <a:pos x="56" y="3"/>
                </a:cxn>
                <a:cxn ang="0">
                  <a:pos x="51" y="3"/>
                </a:cxn>
                <a:cxn ang="0">
                  <a:pos x="49" y="0"/>
                </a:cxn>
                <a:cxn ang="0">
                  <a:pos x="41" y="1"/>
                </a:cxn>
                <a:cxn ang="0">
                  <a:pos x="32" y="3"/>
                </a:cxn>
                <a:cxn ang="0">
                  <a:pos x="27" y="1"/>
                </a:cxn>
                <a:cxn ang="0">
                  <a:pos x="21" y="2"/>
                </a:cxn>
                <a:cxn ang="0">
                  <a:pos x="21" y="6"/>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9525">
              <a:solidFill>
                <a:srgbClr val="0085C3"/>
              </a:solidFill>
              <a:round/>
              <a:headEnd/>
              <a:tailEnd/>
            </a:ln>
          </p:spPr>
          <p:txBody>
            <a:bodyPr/>
            <a:lstStyle/>
            <a:p>
              <a:endParaRPr lang="en-US" dirty="0">
                <a:solidFill>
                  <a:srgbClr val="444444"/>
                </a:solidFill>
              </a:endParaRPr>
            </a:p>
          </p:txBody>
        </p:sp>
        <p:sp>
          <p:nvSpPr>
            <p:cNvPr id="115" name="Freeform 378"/>
            <p:cNvSpPr>
              <a:spLocks/>
            </p:cNvSpPr>
            <p:nvPr/>
          </p:nvSpPr>
          <p:spPr bwMode="auto">
            <a:xfrm>
              <a:off x="5319713" y="3809677"/>
              <a:ext cx="369887" cy="354013"/>
            </a:xfrm>
            <a:custGeom>
              <a:avLst/>
              <a:gdLst/>
              <a:ahLst/>
              <a:cxnLst>
                <a:cxn ang="0">
                  <a:pos x="22" y="45"/>
                </a:cxn>
                <a:cxn ang="0">
                  <a:pos x="24" y="44"/>
                </a:cxn>
                <a:cxn ang="0">
                  <a:pos x="27" y="45"/>
                </a:cxn>
                <a:cxn ang="0">
                  <a:pos x="29" y="45"/>
                </a:cxn>
                <a:cxn ang="0">
                  <a:pos x="32" y="43"/>
                </a:cxn>
                <a:cxn ang="0">
                  <a:pos x="39" y="41"/>
                </a:cxn>
                <a:cxn ang="0">
                  <a:pos x="47" y="32"/>
                </a:cxn>
                <a:cxn ang="0">
                  <a:pos x="40" y="31"/>
                </a:cxn>
                <a:cxn ang="0">
                  <a:pos x="33" y="27"/>
                </a:cxn>
                <a:cxn ang="0">
                  <a:pos x="31" y="24"/>
                </a:cxn>
                <a:cxn ang="0">
                  <a:pos x="34" y="22"/>
                </a:cxn>
                <a:cxn ang="0">
                  <a:pos x="33" y="20"/>
                </a:cxn>
                <a:cxn ang="0">
                  <a:pos x="25" y="8"/>
                </a:cxn>
                <a:cxn ang="0">
                  <a:pos x="20" y="6"/>
                </a:cxn>
                <a:cxn ang="0">
                  <a:pos x="17" y="0"/>
                </a:cxn>
                <a:cxn ang="0">
                  <a:pos x="17" y="0"/>
                </a:cxn>
                <a:cxn ang="0">
                  <a:pos x="15" y="1"/>
                </a:cxn>
                <a:cxn ang="0">
                  <a:pos x="12" y="3"/>
                </a:cxn>
                <a:cxn ang="0">
                  <a:pos x="11" y="14"/>
                </a:cxn>
                <a:cxn ang="0">
                  <a:pos x="8" y="20"/>
                </a:cxn>
                <a:cxn ang="0">
                  <a:pos x="4" y="24"/>
                </a:cxn>
                <a:cxn ang="0">
                  <a:pos x="3" y="30"/>
                </a:cxn>
                <a:cxn ang="0">
                  <a:pos x="1" y="30"/>
                </a:cxn>
                <a:cxn ang="0">
                  <a:pos x="0" y="33"/>
                </a:cxn>
                <a:cxn ang="0">
                  <a:pos x="4" y="36"/>
                </a:cxn>
                <a:cxn ang="0">
                  <a:pos x="7" y="39"/>
                </a:cxn>
                <a:cxn ang="0">
                  <a:pos x="9" y="41"/>
                </a:cxn>
                <a:cxn ang="0">
                  <a:pos x="9" y="42"/>
                </a:cxn>
                <a:cxn ang="0">
                  <a:pos x="12" y="43"/>
                </a:cxn>
                <a:cxn ang="0">
                  <a:pos x="22" y="45"/>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9525">
              <a:solidFill>
                <a:srgbClr val="0085C3"/>
              </a:solidFill>
              <a:round/>
              <a:headEnd/>
              <a:tailEnd/>
            </a:ln>
          </p:spPr>
          <p:txBody>
            <a:bodyPr/>
            <a:lstStyle/>
            <a:p>
              <a:endParaRPr lang="en-US" dirty="0">
                <a:solidFill>
                  <a:srgbClr val="444444"/>
                </a:solidFill>
              </a:endParaRPr>
            </a:p>
          </p:txBody>
        </p:sp>
        <p:sp>
          <p:nvSpPr>
            <p:cNvPr id="116" name="Freeform 379"/>
            <p:cNvSpPr>
              <a:spLocks/>
            </p:cNvSpPr>
            <p:nvPr/>
          </p:nvSpPr>
          <p:spPr bwMode="auto">
            <a:xfrm>
              <a:off x="5343525" y="4138290"/>
              <a:ext cx="204788" cy="234950"/>
            </a:xfrm>
            <a:custGeom>
              <a:avLst/>
              <a:gdLst/>
              <a:ahLst/>
              <a:cxnLst>
                <a:cxn ang="0">
                  <a:pos x="23" y="7"/>
                </a:cxn>
                <a:cxn ang="0">
                  <a:pos x="26" y="4"/>
                </a:cxn>
                <a:cxn ang="0">
                  <a:pos x="26" y="3"/>
                </a:cxn>
                <a:cxn ang="0">
                  <a:pos x="24" y="3"/>
                </a:cxn>
                <a:cxn ang="0">
                  <a:pos x="21" y="2"/>
                </a:cxn>
                <a:cxn ang="0">
                  <a:pos x="19" y="3"/>
                </a:cxn>
                <a:cxn ang="0">
                  <a:pos x="9" y="1"/>
                </a:cxn>
                <a:cxn ang="0">
                  <a:pos x="6" y="0"/>
                </a:cxn>
                <a:cxn ang="0">
                  <a:pos x="6" y="1"/>
                </a:cxn>
                <a:cxn ang="0">
                  <a:pos x="3" y="1"/>
                </a:cxn>
                <a:cxn ang="0">
                  <a:pos x="0" y="3"/>
                </a:cxn>
                <a:cxn ang="0">
                  <a:pos x="2" y="5"/>
                </a:cxn>
                <a:cxn ang="0">
                  <a:pos x="2" y="9"/>
                </a:cxn>
                <a:cxn ang="0">
                  <a:pos x="0" y="13"/>
                </a:cxn>
                <a:cxn ang="0">
                  <a:pos x="1" y="19"/>
                </a:cxn>
                <a:cxn ang="0">
                  <a:pos x="12" y="24"/>
                </a:cxn>
                <a:cxn ang="0">
                  <a:pos x="12" y="27"/>
                </a:cxn>
                <a:cxn ang="0">
                  <a:pos x="17" y="30"/>
                </a:cxn>
                <a:cxn ang="0">
                  <a:pos x="18" y="29"/>
                </a:cxn>
                <a:cxn ang="0">
                  <a:pos x="22" y="23"/>
                </a:cxn>
                <a:cxn ang="0">
                  <a:pos x="25" y="20"/>
                </a:cxn>
                <a:cxn ang="0">
                  <a:pos x="23" y="17"/>
                </a:cxn>
                <a:cxn ang="0">
                  <a:pos x="23" y="7"/>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7" name="Freeform 380"/>
            <p:cNvSpPr>
              <a:spLocks/>
            </p:cNvSpPr>
            <p:nvPr/>
          </p:nvSpPr>
          <p:spPr bwMode="auto">
            <a:xfrm>
              <a:off x="5122863" y="4646290"/>
              <a:ext cx="188912" cy="179387"/>
            </a:xfrm>
            <a:custGeom>
              <a:avLst/>
              <a:gdLst/>
              <a:ahLst/>
              <a:cxnLst>
                <a:cxn ang="0">
                  <a:pos x="9" y="5"/>
                </a:cxn>
                <a:cxn ang="0">
                  <a:pos x="6" y="8"/>
                </a:cxn>
                <a:cxn ang="0">
                  <a:pos x="2" y="7"/>
                </a:cxn>
                <a:cxn ang="0">
                  <a:pos x="0" y="8"/>
                </a:cxn>
                <a:cxn ang="0">
                  <a:pos x="1" y="8"/>
                </a:cxn>
                <a:cxn ang="0">
                  <a:pos x="3" y="12"/>
                </a:cxn>
                <a:cxn ang="0">
                  <a:pos x="6" y="16"/>
                </a:cxn>
                <a:cxn ang="0">
                  <a:pos x="8" y="16"/>
                </a:cxn>
                <a:cxn ang="0">
                  <a:pos x="9" y="20"/>
                </a:cxn>
                <a:cxn ang="0">
                  <a:pos x="14" y="22"/>
                </a:cxn>
                <a:cxn ang="0">
                  <a:pos x="20" y="23"/>
                </a:cxn>
                <a:cxn ang="0">
                  <a:pos x="22" y="20"/>
                </a:cxn>
                <a:cxn ang="0">
                  <a:pos x="24" y="12"/>
                </a:cxn>
                <a:cxn ang="0">
                  <a:pos x="24" y="7"/>
                </a:cxn>
                <a:cxn ang="0">
                  <a:pos x="24" y="3"/>
                </a:cxn>
                <a:cxn ang="0">
                  <a:pos x="16" y="0"/>
                </a:cxn>
                <a:cxn ang="0">
                  <a:pos x="13" y="1"/>
                </a:cxn>
                <a:cxn ang="0">
                  <a:pos x="9" y="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8" name="Freeform 381"/>
            <p:cNvSpPr>
              <a:spLocks/>
            </p:cNvSpPr>
            <p:nvPr/>
          </p:nvSpPr>
          <p:spPr bwMode="auto">
            <a:xfrm>
              <a:off x="5053013" y="4163690"/>
              <a:ext cx="338137" cy="544512"/>
            </a:xfrm>
            <a:custGeom>
              <a:avLst/>
              <a:gdLst/>
              <a:ahLst/>
              <a:cxnLst>
                <a:cxn ang="0">
                  <a:pos x="27" y="6"/>
                </a:cxn>
                <a:cxn ang="0">
                  <a:pos x="23" y="13"/>
                </a:cxn>
                <a:cxn ang="0">
                  <a:pos x="21" y="20"/>
                </a:cxn>
                <a:cxn ang="0">
                  <a:pos x="22" y="26"/>
                </a:cxn>
                <a:cxn ang="0">
                  <a:pos x="23" y="32"/>
                </a:cxn>
                <a:cxn ang="0">
                  <a:pos x="25" y="38"/>
                </a:cxn>
                <a:cxn ang="0">
                  <a:pos x="22" y="39"/>
                </a:cxn>
                <a:cxn ang="0">
                  <a:pos x="21" y="45"/>
                </a:cxn>
                <a:cxn ang="0">
                  <a:pos x="20" y="48"/>
                </a:cxn>
                <a:cxn ang="0">
                  <a:pos x="23" y="52"/>
                </a:cxn>
                <a:cxn ang="0">
                  <a:pos x="23" y="54"/>
                </a:cxn>
                <a:cxn ang="0">
                  <a:pos x="17" y="51"/>
                </a:cxn>
                <a:cxn ang="0">
                  <a:pos x="11" y="48"/>
                </a:cxn>
                <a:cxn ang="0">
                  <a:pos x="6" y="48"/>
                </a:cxn>
                <a:cxn ang="0">
                  <a:pos x="6" y="52"/>
                </a:cxn>
                <a:cxn ang="0">
                  <a:pos x="0" y="53"/>
                </a:cxn>
                <a:cxn ang="0">
                  <a:pos x="0" y="64"/>
                </a:cxn>
                <a:cxn ang="0">
                  <a:pos x="2" y="68"/>
                </a:cxn>
                <a:cxn ang="0">
                  <a:pos x="6" y="68"/>
                </a:cxn>
                <a:cxn ang="0">
                  <a:pos x="8" y="69"/>
                </a:cxn>
                <a:cxn ang="0">
                  <a:pos x="7" y="69"/>
                </a:cxn>
                <a:cxn ang="0">
                  <a:pos x="9" y="70"/>
                </a:cxn>
                <a:cxn ang="0">
                  <a:pos x="11" y="69"/>
                </a:cxn>
                <a:cxn ang="0">
                  <a:pos x="15" y="70"/>
                </a:cxn>
                <a:cxn ang="0">
                  <a:pos x="18" y="67"/>
                </a:cxn>
                <a:cxn ang="0">
                  <a:pos x="22" y="63"/>
                </a:cxn>
                <a:cxn ang="0">
                  <a:pos x="25" y="62"/>
                </a:cxn>
                <a:cxn ang="0">
                  <a:pos x="24" y="62"/>
                </a:cxn>
                <a:cxn ang="0">
                  <a:pos x="24" y="61"/>
                </a:cxn>
                <a:cxn ang="0">
                  <a:pos x="33" y="57"/>
                </a:cxn>
                <a:cxn ang="0">
                  <a:pos x="37" y="59"/>
                </a:cxn>
                <a:cxn ang="0">
                  <a:pos x="39" y="62"/>
                </a:cxn>
                <a:cxn ang="0">
                  <a:pos x="40" y="64"/>
                </a:cxn>
                <a:cxn ang="0">
                  <a:pos x="43" y="62"/>
                </a:cxn>
                <a:cxn ang="0">
                  <a:pos x="43" y="59"/>
                </a:cxn>
                <a:cxn ang="0">
                  <a:pos x="40" y="54"/>
                </a:cxn>
                <a:cxn ang="0">
                  <a:pos x="40" y="49"/>
                </a:cxn>
                <a:cxn ang="0">
                  <a:pos x="41" y="49"/>
                </a:cxn>
                <a:cxn ang="0">
                  <a:pos x="39" y="44"/>
                </a:cxn>
                <a:cxn ang="0">
                  <a:pos x="38" y="42"/>
                </a:cxn>
                <a:cxn ang="0">
                  <a:pos x="33" y="41"/>
                </a:cxn>
                <a:cxn ang="0">
                  <a:pos x="28" y="39"/>
                </a:cxn>
                <a:cxn ang="0">
                  <a:pos x="26" y="34"/>
                </a:cxn>
                <a:cxn ang="0">
                  <a:pos x="24" y="26"/>
                </a:cxn>
                <a:cxn ang="0">
                  <a:pos x="26" y="23"/>
                </a:cxn>
                <a:cxn ang="0">
                  <a:pos x="25" y="16"/>
                </a:cxn>
                <a:cxn ang="0">
                  <a:pos x="30" y="16"/>
                </a:cxn>
                <a:cxn ang="0">
                  <a:pos x="32" y="20"/>
                </a:cxn>
                <a:cxn ang="0">
                  <a:pos x="36" y="20"/>
                </a:cxn>
                <a:cxn ang="0">
                  <a:pos x="36" y="17"/>
                </a:cxn>
                <a:cxn ang="0">
                  <a:pos x="37" y="15"/>
                </a:cxn>
                <a:cxn ang="0">
                  <a:pos x="38" y="16"/>
                </a:cxn>
                <a:cxn ang="0">
                  <a:pos x="37" y="10"/>
                </a:cxn>
                <a:cxn ang="0">
                  <a:pos x="39" y="6"/>
                </a:cxn>
                <a:cxn ang="0">
                  <a:pos x="39" y="2"/>
                </a:cxn>
                <a:cxn ang="0">
                  <a:pos x="37" y="0"/>
                </a:cxn>
                <a:cxn ang="0">
                  <a:pos x="35" y="0"/>
                </a:cxn>
                <a:cxn ang="0">
                  <a:pos x="28" y="1"/>
                </a:cxn>
                <a:cxn ang="0">
                  <a:pos x="27" y="0"/>
                </a:cxn>
                <a:cxn ang="0">
                  <a:pos x="27" y="5"/>
                </a:cxn>
                <a:cxn ang="0">
                  <a:pos x="27" y="6"/>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19" name="Freeform 382"/>
            <p:cNvSpPr>
              <a:spLocks/>
            </p:cNvSpPr>
            <p:nvPr/>
          </p:nvSpPr>
          <p:spPr bwMode="auto">
            <a:xfrm>
              <a:off x="4379913" y="3881115"/>
              <a:ext cx="187325" cy="141287"/>
            </a:xfrm>
            <a:custGeom>
              <a:avLst/>
              <a:gdLst/>
              <a:ahLst/>
              <a:cxnLst>
                <a:cxn ang="0">
                  <a:pos x="114" y="79"/>
                </a:cxn>
                <a:cxn ang="0">
                  <a:pos x="120" y="79"/>
                </a:cxn>
                <a:cxn ang="0">
                  <a:pos x="138" y="55"/>
                </a:cxn>
                <a:cxn ang="0">
                  <a:pos x="144" y="49"/>
                </a:cxn>
                <a:cxn ang="0">
                  <a:pos x="132" y="49"/>
                </a:cxn>
                <a:cxn ang="0">
                  <a:pos x="108" y="25"/>
                </a:cxn>
                <a:cxn ang="0">
                  <a:pos x="96" y="0"/>
                </a:cxn>
                <a:cxn ang="0">
                  <a:pos x="90" y="0"/>
                </a:cxn>
                <a:cxn ang="0">
                  <a:pos x="54" y="19"/>
                </a:cxn>
                <a:cxn ang="0">
                  <a:pos x="24" y="43"/>
                </a:cxn>
                <a:cxn ang="0">
                  <a:pos x="6" y="67"/>
                </a:cxn>
                <a:cxn ang="0">
                  <a:pos x="0" y="85"/>
                </a:cxn>
                <a:cxn ang="0">
                  <a:pos x="0" y="97"/>
                </a:cxn>
                <a:cxn ang="0">
                  <a:pos x="6" y="109"/>
                </a:cxn>
                <a:cxn ang="0">
                  <a:pos x="36" y="103"/>
                </a:cxn>
                <a:cxn ang="0">
                  <a:pos x="36" y="109"/>
                </a:cxn>
                <a:cxn ang="0">
                  <a:pos x="42" y="85"/>
                </a:cxn>
                <a:cxn ang="0">
                  <a:pos x="72" y="85"/>
                </a:cxn>
                <a:cxn ang="0">
                  <a:pos x="96" y="85"/>
                </a:cxn>
                <a:cxn ang="0">
                  <a:pos x="114" y="7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0" name="Freeform 383"/>
            <p:cNvSpPr>
              <a:spLocks/>
            </p:cNvSpPr>
            <p:nvPr/>
          </p:nvSpPr>
          <p:spPr bwMode="auto">
            <a:xfrm>
              <a:off x="4379913" y="3881115"/>
              <a:ext cx="187325" cy="141287"/>
            </a:xfrm>
            <a:custGeom>
              <a:avLst/>
              <a:gdLst/>
              <a:ahLst/>
              <a:cxnLst>
                <a:cxn ang="0">
                  <a:pos x="114" y="79"/>
                </a:cxn>
                <a:cxn ang="0">
                  <a:pos x="120" y="79"/>
                </a:cxn>
                <a:cxn ang="0">
                  <a:pos x="138" y="55"/>
                </a:cxn>
                <a:cxn ang="0">
                  <a:pos x="144" y="49"/>
                </a:cxn>
                <a:cxn ang="0">
                  <a:pos x="132" y="49"/>
                </a:cxn>
                <a:cxn ang="0">
                  <a:pos x="108" y="25"/>
                </a:cxn>
                <a:cxn ang="0">
                  <a:pos x="96" y="0"/>
                </a:cxn>
                <a:cxn ang="0">
                  <a:pos x="90" y="0"/>
                </a:cxn>
                <a:cxn ang="0">
                  <a:pos x="54" y="19"/>
                </a:cxn>
                <a:cxn ang="0">
                  <a:pos x="24" y="43"/>
                </a:cxn>
                <a:cxn ang="0">
                  <a:pos x="6" y="67"/>
                </a:cxn>
                <a:cxn ang="0">
                  <a:pos x="0" y="85"/>
                </a:cxn>
                <a:cxn ang="0">
                  <a:pos x="0" y="97"/>
                </a:cxn>
                <a:cxn ang="0">
                  <a:pos x="6" y="109"/>
                </a:cxn>
                <a:cxn ang="0">
                  <a:pos x="36" y="103"/>
                </a:cxn>
                <a:cxn ang="0">
                  <a:pos x="36" y="109"/>
                </a:cxn>
                <a:cxn ang="0">
                  <a:pos x="42" y="85"/>
                </a:cxn>
                <a:cxn ang="0">
                  <a:pos x="72" y="85"/>
                </a:cxn>
                <a:cxn ang="0">
                  <a:pos x="96" y="85"/>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9525">
              <a:solidFill>
                <a:srgbClr val="0085C3"/>
              </a:solidFill>
              <a:round/>
              <a:headEnd/>
              <a:tailEnd/>
            </a:ln>
          </p:spPr>
          <p:txBody>
            <a:bodyPr/>
            <a:lstStyle/>
            <a:p>
              <a:endParaRPr lang="en-US" dirty="0">
                <a:solidFill>
                  <a:srgbClr val="444444"/>
                </a:solidFill>
              </a:endParaRPr>
            </a:p>
          </p:txBody>
        </p:sp>
        <p:sp>
          <p:nvSpPr>
            <p:cNvPr id="121" name="Freeform 384"/>
            <p:cNvSpPr>
              <a:spLocks/>
            </p:cNvSpPr>
            <p:nvPr/>
          </p:nvSpPr>
          <p:spPr bwMode="auto">
            <a:xfrm>
              <a:off x="4503738" y="3984302"/>
              <a:ext cx="23812" cy="6350"/>
            </a:xfrm>
            <a:custGeom>
              <a:avLst/>
              <a:gdLst/>
              <a:ahLst/>
              <a:cxnLst>
                <a:cxn ang="0">
                  <a:pos x="0" y="6"/>
                </a:cxn>
                <a:cxn ang="0">
                  <a:pos x="6" y="6"/>
                </a:cxn>
                <a:cxn ang="0">
                  <a:pos x="18" y="0"/>
                </a:cxn>
                <a:cxn ang="0">
                  <a:pos x="0" y="6"/>
                </a:cxn>
              </a:cxnLst>
              <a:rect l="0" t="0" r="r" b="b"/>
              <a:pathLst>
                <a:path w="18" h="6">
                  <a:moveTo>
                    <a:pt x="0" y="6"/>
                  </a:moveTo>
                  <a:lnTo>
                    <a:pt x="6" y="6"/>
                  </a:lnTo>
                  <a:lnTo>
                    <a:pt x="18" y="0"/>
                  </a:lnTo>
                  <a:lnTo>
                    <a:pt x="0"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2" name="Freeform 385"/>
            <p:cNvSpPr>
              <a:spLocks/>
            </p:cNvSpPr>
            <p:nvPr/>
          </p:nvSpPr>
          <p:spPr bwMode="auto">
            <a:xfrm>
              <a:off x="4503738" y="3984302"/>
              <a:ext cx="23812" cy="6350"/>
            </a:xfrm>
            <a:custGeom>
              <a:avLst/>
              <a:gdLst/>
              <a:ahLst/>
              <a:cxnLst>
                <a:cxn ang="0">
                  <a:pos x="0" y="6"/>
                </a:cxn>
                <a:cxn ang="0">
                  <a:pos x="6" y="6"/>
                </a:cxn>
                <a:cxn ang="0">
                  <a:pos x="18" y="0"/>
                </a:cxn>
              </a:cxnLst>
              <a:rect l="0" t="0" r="r" b="b"/>
              <a:pathLst>
                <a:path w="18" h="6">
                  <a:moveTo>
                    <a:pt x="0" y="6"/>
                  </a:moveTo>
                  <a:lnTo>
                    <a:pt x="6" y="6"/>
                  </a:lnTo>
                  <a:lnTo>
                    <a:pt x="18" y="0"/>
                  </a:lnTo>
                </a:path>
              </a:pathLst>
            </a:custGeom>
            <a:grpFill/>
            <a:ln w="9525">
              <a:solidFill>
                <a:srgbClr val="0085C3"/>
              </a:solidFill>
              <a:round/>
              <a:headEnd/>
              <a:tailEnd/>
            </a:ln>
          </p:spPr>
          <p:txBody>
            <a:bodyPr/>
            <a:lstStyle/>
            <a:p>
              <a:endParaRPr lang="en-US" dirty="0">
                <a:solidFill>
                  <a:srgbClr val="444444"/>
                </a:solidFill>
              </a:endParaRPr>
            </a:p>
          </p:txBody>
        </p:sp>
        <p:sp>
          <p:nvSpPr>
            <p:cNvPr id="123" name="Freeform 386"/>
            <p:cNvSpPr>
              <a:spLocks/>
            </p:cNvSpPr>
            <p:nvPr/>
          </p:nvSpPr>
          <p:spPr bwMode="auto">
            <a:xfrm>
              <a:off x="4425950" y="3990652"/>
              <a:ext cx="101600" cy="131763"/>
            </a:xfrm>
            <a:custGeom>
              <a:avLst/>
              <a:gdLst/>
              <a:ahLst/>
              <a:cxnLst>
                <a:cxn ang="0">
                  <a:pos x="60" y="6"/>
                </a:cxn>
                <a:cxn ang="0">
                  <a:pos x="60" y="0"/>
                </a:cxn>
                <a:cxn ang="0">
                  <a:pos x="36" y="0"/>
                </a:cxn>
                <a:cxn ang="0">
                  <a:pos x="6" y="0"/>
                </a:cxn>
                <a:cxn ang="0">
                  <a:pos x="0" y="24"/>
                </a:cxn>
                <a:cxn ang="0">
                  <a:pos x="12" y="42"/>
                </a:cxn>
                <a:cxn ang="0">
                  <a:pos x="0" y="66"/>
                </a:cxn>
                <a:cxn ang="0">
                  <a:pos x="0" y="84"/>
                </a:cxn>
                <a:cxn ang="0">
                  <a:pos x="6" y="102"/>
                </a:cxn>
                <a:cxn ang="0">
                  <a:pos x="36" y="102"/>
                </a:cxn>
                <a:cxn ang="0">
                  <a:pos x="78" y="90"/>
                </a:cxn>
                <a:cxn ang="0">
                  <a:pos x="60" y="36"/>
                </a:cxn>
                <a:cxn ang="0">
                  <a:pos x="60" y="6"/>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4" name="Freeform 387"/>
            <p:cNvSpPr>
              <a:spLocks/>
            </p:cNvSpPr>
            <p:nvPr/>
          </p:nvSpPr>
          <p:spPr bwMode="auto">
            <a:xfrm>
              <a:off x="4576763" y="3889052"/>
              <a:ext cx="296862" cy="266700"/>
            </a:xfrm>
            <a:custGeom>
              <a:avLst/>
              <a:gdLst/>
              <a:ahLst/>
              <a:cxnLst>
                <a:cxn ang="0">
                  <a:pos x="120" y="151"/>
                </a:cxn>
                <a:cxn ang="0">
                  <a:pos x="150" y="163"/>
                </a:cxn>
                <a:cxn ang="0">
                  <a:pos x="180" y="121"/>
                </a:cxn>
                <a:cxn ang="0">
                  <a:pos x="198" y="73"/>
                </a:cxn>
                <a:cxn ang="0">
                  <a:pos x="204" y="55"/>
                </a:cxn>
                <a:cxn ang="0">
                  <a:pos x="222" y="49"/>
                </a:cxn>
                <a:cxn ang="0">
                  <a:pos x="228" y="31"/>
                </a:cxn>
                <a:cxn ang="0">
                  <a:pos x="210" y="25"/>
                </a:cxn>
                <a:cxn ang="0">
                  <a:pos x="198" y="7"/>
                </a:cxn>
                <a:cxn ang="0">
                  <a:pos x="204" y="0"/>
                </a:cxn>
                <a:cxn ang="0">
                  <a:pos x="174" y="25"/>
                </a:cxn>
                <a:cxn ang="0">
                  <a:pos x="144" y="31"/>
                </a:cxn>
                <a:cxn ang="0">
                  <a:pos x="108" y="31"/>
                </a:cxn>
                <a:cxn ang="0">
                  <a:pos x="84" y="43"/>
                </a:cxn>
                <a:cxn ang="0">
                  <a:pos x="48" y="31"/>
                </a:cxn>
                <a:cxn ang="0">
                  <a:pos x="24" y="31"/>
                </a:cxn>
                <a:cxn ang="0">
                  <a:pos x="12" y="49"/>
                </a:cxn>
                <a:cxn ang="0">
                  <a:pos x="12" y="67"/>
                </a:cxn>
                <a:cxn ang="0">
                  <a:pos x="12" y="91"/>
                </a:cxn>
                <a:cxn ang="0">
                  <a:pos x="0" y="133"/>
                </a:cxn>
                <a:cxn ang="0">
                  <a:pos x="0" y="163"/>
                </a:cxn>
                <a:cxn ang="0">
                  <a:pos x="24" y="163"/>
                </a:cxn>
                <a:cxn ang="0">
                  <a:pos x="48" y="193"/>
                </a:cxn>
                <a:cxn ang="0">
                  <a:pos x="72" y="199"/>
                </a:cxn>
                <a:cxn ang="0">
                  <a:pos x="96" y="205"/>
                </a:cxn>
                <a:cxn ang="0">
                  <a:pos x="102" y="175"/>
                </a:cxn>
                <a:cxn ang="0">
                  <a:pos x="120" y="151"/>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5" name="Freeform 388"/>
            <p:cNvSpPr>
              <a:spLocks/>
            </p:cNvSpPr>
            <p:nvPr/>
          </p:nvSpPr>
          <p:spPr bwMode="auto">
            <a:xfrm>
              <a:off x="4865688" y="3990652"/>
              <a:ext cx="320675" cy="187325"/>
            </a:xfrm>
            <a:custGeom>
              <a:avLst/>
              <a:gdLst/>
              <a:ahLst/>
              <a:cxnLst>
                <a:cxn ang="0">
                  <a:pos x="78" y="36"/>
                </a:cxn>
                <a:cxn ang="0">
                  <a:pos x="72" y="48"/>
                </a:cxn>
                <a:cxn ang="0">
                  <a:pos x="36" y="60"/>
                </a:cxn>
                <a:cxn ang="0">
                  <a:pos x="12" y="66"/>
                </a:cxn>
                <a:cxn ang="0">
                  <a:pos x="0" y="102"/>
                </a:cxn>
                <a:cxn ang="0">
                  <a:pos x="12" y="132"/>
                </a:cxn>
                <a:cxn ang="0">
                  <a:pos x="18" y="144"/>
                </a:cxn>
                <a:cxn ang="0">
                  <a:pos x="42" y="132"/>
                </a:cxn>
                <a:cxn ang="0">
                  <a:pos x="66" y="132"/>
                </a:cxn>
                <a:cxn ang="0">
                  <a:pos x="78" y="138"/>
                </a:cxn>
                <a:cxn ang="0">
                  <a:pos x="78" y="114"/>
                </a:cxn>
                <a:cxn ang="0">
                  <a:pos x="114" y="108"/>
                </a:cxn>
                <a:cxn ang="0">
                  <a:pos x="144" y="120"/>
                </a:cxn>
                <a:cxn ang="0">
                  <a:pos x="198" y="108"/>
                </a:cxn>
                <a:cxn ang="0">
                  <a:pos x="246" y="102"/>
                </a:cxn>
                <a:cxn ang="0">
                  <a:pos x="246" y="102"/>
                </a:cxn>
                <a:cxn ang="0">
                  <a:pos x="210" y="66"/>
                </a:cxn>
                <a:cxn ang="0">
                  <a:pos x="186" y="54"/>
                </a:cxn>
                <a:cxn ang="0">
                  <a:pos x="168" y="24"/>
                </a:cxn>
                <a:cxn ang="0">
                  <a:pos x="156" y="0"/>
                </a:cxn>
                <a:cxn ang="0">
                  <a:pos x="108" y="30"/>
                </a:cxn>
                <a:cxn ang="0">
                  <a:pos x="78" y="36"/>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46" y="102"/>
                  </a:lnTo>
                  <a:lnTo>
                    <a:pt x="210" y="66"/>
                  </a:lnTo>
                  <a:lnTo>
                    <a:pt x="186" y="54"/>
                  </a:lnTo>
                  <a:lnTo>
                    <a:pt x="168" y="24"/>
                  </a:lnTo>
                  <a:lnTo>
                    <a:pt x="156" y="0"/>
                  </a:lnTo>
                  <a:lnTo>
                    <a:pt x="108" y="30"/>
                  </a:lnTo>
                  <a:lnTo>
                    <a:pt x="78" y="3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6" name="Freeform 389"/>
            <p:cNvSpPr>
              <a:spLocks/>
            </p:cNvSpPr>
            <p:nvPr/>
          </p:nvSpPr>
          <p:spPr bwMode="auto">
            <a:xfrm>
              <a:off x="4772025" y="4163690"/>
              <a:ext cx="195263" cy="233362"/>
            </a:xfrm>
            <a:custGeom>
              <a:avLst/>
              <a:gdLst/>
              <a:ahLst/>
              <a:cxnLst>
                <a:cxn ang="0">
                  <a:pos x="66" y="162"/>
                </a:cxn>
                <a:cxn ang="0">
                  <a:pos x="90" y="144"/>
                </a:cxn>
                <a:cxn ang="0">
                  <a:pos x="114" y="96"/>
                </a:cxn>
                <a:cxn ang="0">
                  <a:pos x="132" y="78"/>
                </a:cxn>
                <a:cxn ang="0">
                  <a:pos x="150" y="6"/>
                </a:cxn>
                <a:cxn ang="0">
                  <a:pos x="138" y="0"/>
                </a:cxn>
                <a:cxn ang="0">
                  <a:pos x="114" y="0"/>
                </a:cxn>
                <a:cxn ang="0">
                  <a:pos x="90" y="12"/>
                </a:cxn>
                <a:cxn ang="0">
                  <a:pos x="72" y="18"/>
                </a:cxn>
                <a:cxn ang="0">
                  <a:pos x="60" y="30"/>
                </a:cxn>
                <a:cxn ang="0">
                  <a:pos x="48" y="36"/>
                </a:cxn>
                <a:cxn ang="0">
                  <a:pos x="48" y="48"/>
                </a:cxn>
                <a:cxn ang="0">
                  <a:pos x="60" y="54"/>
                </a:cxn>
                <a:cxn ang="0">
                  <a:pos x="54" y="84"/>
                </a:cxn>
                <a:cxn ang="0">
                  <a:pos x="48" y="114"/>
                </a:cxn>
                <a:cxn ang="0">
                  <a:pos x="30" y="114"/>
                </a:cxn>
                <a:cxn ang="0">
                  <a:pos x="12" y="126"/>
                </a:cxn>
                <a:cxn ang="0">
                  <a:pos x="0" y="138"/>
                </a:cxn>
                <a:cxn ang="0">
                  <a:pos x="18" y="156"/>
                </a:cxn>
                <a:cxn ang="0">
                  <a:pos x="24" y="180"/>
                </a:cxn>
                <a:cxn ang="0">
                  <a:pos x="42" y="162"/>
                </a:cxn>
                <a:cxn ang="0">
                  <a:pos x="66" y="162"/>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7" name="Freeform 390"/>
            <p:cNvSpPr>
              <a:spLocks/>
            </p:cNvSpPr>
            <p:nvPr/>
          </p:nvSpPr>
          <p:spPr bwMode="auto">
            <a:xfrm>
              <a:off x="4732338" y="4211315"/>
              <a:ext cx="117475" cy="130175"/>
            </a:xfrm>
            <a:custGeom>
              <a:avLst/>
              <a:gdLst/>
              <a:ahLst/>
              <a:cxnLst>
                <a:cxn ang="0">
                  <a:pos x="60" y="78"/>
                </a:cxn>
                <a:cxn ang="0">
                  <a:pos x="78" y="78"/>
                </a:cxn>
                <a:cxn ang="0">
                  <a:pos x="84" y="48"/>
                </a:cxn>
                <a:cxn ang="0">
                  <a:pos x="90" y="18"/>
                </a:cxn>
                <a:cxn ang="0">
                  <a:pos x="78" y="12"/>
                </a:cxn>
                <a:cxn ang="0">
                  <a:pos x="78" y="0"/>
                </a:cxn>
                <a:cxn ang="0">
                  <a:pos x="48" y="0"/>
                </a:cxn>
                <a:cxn ang="0">
                  <a:pos x="0" y="0"/>
                </a:cxn>
                <a:cxn ang="0">
                  <a:pos x="0" y="18"/>
                </a:cxn>
                <a:cxn ang="0">
                  <a:pos x="0" y="54"/>
                </a:cxn>
                <a:cxn ang="0">
                  <a:pos x="30" y="102"/>
                </a:cxn>
                <a:cxn ang="0">
                  <a:pos x="42" y="90"/>
                </a:cxn>
                <a:cxn ang="0">
                  <a:pos x="60" y="78"/>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8" name="Freeform 391"/>
            <p:cNvSpPr>
              <a:spLocks/>
            </p:cNvSpPr>
            <p:nvPr/>
          </p:nvSpPr>
          <p:spPr bwMode="auto">
            <a:xfrm>
              <a:off x="4700588" y="3952552"/>
              <a:ext cx="187325" cy="258763"/>
            </a:xfrm>
            <a:custGeom>
              <a:avLst/>
              <a:gdLst/>
              <a:ahLst/>
              <a:cxnLst>
                <a:cxn ang="0">
                  <a:pos x="144" y="174"/>
                </a:cxn>
                <a:cxn ang="0">
                  <a:pos x="138" y="162"/>
                </a:cxn>
                <a:cxn ang="0">
                  <a:pos x="126" y="132"/>
                </a:cxn>
                <a:cxn ang="0">
                  <a:pos x="138" y="96"/>
                </a:cxn>
                <a:cxn ang="0">
                  <a:pos x="132" y="96"/>
                </a:cxn>
                <a:cxn ang="0">
                  <a:pos x="114" y="66"/>
                </a:cxn>
                <a:cxn ang="0">
                  <a:pos x="114" y="48"/>
                </a:cxn>
                <a:cxn ang="0">
                  <a:pos x="138" y="42"/>
                </a:cxn>
                <a:cxn ang="0">
                  <a:pos x="126" y="0"/>
                </a:cxn>
                <a:cxn ang="0">
                  <a:pos x="126" y="0"/>
                </a:cxn>
                <a:cxn ang="0">
                  <a:pos x="108" y="6"/>
                </a:cxn>
                <a:cxn ang="0">
                  <a:pos x="102" y="24"/>
                </a:cxn>
                <a:cxn ang="0">
                  <a:pos x="84" y="72"/>
                </a:cxn>
                <a:cxn ang="0">
                  <a:pos x="54" y="114"/>
                </a:cxn>
                <a:cxn ang="0">
                  <a:pos x="24" y="102"/>
                </a:cxn>
                <a:cxn ang="0">
                  <a:pos x="6" y="126"/>
                </a:cxn>
                <a:cxn ang="0">
                  <a:pos x="0" y="156"/>
                </a:cxn>
                <a:cxn ang="0">
                  <a:pos x="18" y="156"/>
                </a:cxn>
                <a:cxn ang="0">
                  <a:pos x="24" y="198"/>
                </a:cxn>
                <a:cxn ang="0">
                  <a:pos x="72" y="198"/>
                </a:cxn>
                <a:cxn ang="0">
                  <a:pos x="102" y="198"/>
                </a:cxn>
                <a:cxn ang="0">
                  <a:pos x="144" y="174"/>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29" name="Freeform 392"/>
            <p:cNvSpPr>
              <a:spLocks/>
            </p:cNvSpPr>
            <p:nvPr/>
          </p:nvSpPr>
          <p:spPr bwMode="auto">
            <a:xfrm>
              <a:off x="4700588" y="3952552"/>
              <a:ext cx="187325" cy="258763"/>
            </a:xfrm>
            <a:custGeom>
              <a:avLst/>
              <a:gdLst/>
              <a:ahLst/>
              <a:cxnLst>
                <a:cxn ang="0">
                  <a:pos x="144" y="174"/>
                </a:cxn>
                <a:cxn ang="0">
                  <a:pos x="138" y="162"/>
                </a:cxn>
                <a:cxn ang="0">
                  <a:pos x="126" y="132"/>
                </a:cxn>
                <a:cxn ang="0">
                  <a:pos x="138" y="96"/>
                </a:cxn>
                <a:cxn ang="0">
                  <a:pos x="132" y="96"/>
                </a:cxn>
                <a:cxn ang="0">
                  <a:pos x="114" y="66"/>
                </a:cxn>
                <a:cxn ang="0">
                  <a:pos x="114" y="48"/>
                </a:cxn>
                <a:cxn ang="0">
                  <a:pos x="138" y="42"/>
                </a:cxn>
                <a:cxn ang="0">
                  <a:pos x="126" y="0"/>
                </a:cxn>
                <a:cxn ang="0">
                  <a:pos x="126" y="0"/>
                </a:cxn>
                <a:cxn ang="0">
                  <a:pos x="108" y="6"/>
                </a:cxn>
                <a:cxn ang="0">
                  <a:pos x="102" y="24"/>
                </a:cxn>
                <a:cxn ang="0">
                  <a:pos x="84" y="72"/>
                </a:cxn>
                <a:cxn ang="0">
                  <a:pos x="54" y="114"/>
                </a:cxn>
                <a:cxn ang="0">
                  <a:pos x="24" y="102"/>
                </a:cxn>
                <a:cxn ang="0">
                  <a:pos x="6" y="126"/>
                </a:cxn>
                <a:cxn ang="0">
                  <a:pos x="0" y="156"/>
                </a:cxn>
                <a:cxn ang="0">
                  <a:pos x="18" y="156"/>
                </a:cxn>
                <a:cxn ang="0">
                  <a:pos x="24" y="198"/>
                </a:cxn>
                <a:cxn ang="0">
                  <a:pos x="72" y="198"/>
                </a:cxn>
                <a:cxn ang="0">
                  <a:pos x="102" y="198"/>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9525">
              <a:solidFill>
                <a:srgbClr val="0085C3"/>
              </a:solidFill>
              <a:round/>
              <a:headEnd/>
              <a:tailEnd/>
            </a:ln>
          </p:spPr>
          <p:txBody>
            <a:bodyPr/>
            <a:lstStyle/>
            <a:p>
              <a:endParaRPr lang="en-US" dirty="0">
                <a:solidFill>
                  <a:srgbClr val="444444"/>
                </a:solidFill>
              </a:endParaRPr>
            </a:p>
          </p:txBody>
        </p:sp>
        <p:sp>
          <p:nvSpPr>
            <p:cNvPr id="130" name="Freeform 393"/>
            <p:cNvSpPr>
              <a:spLocks/>
            </p:cNvSpPr>
            <p:nvPr/>
          </p:nvSpPr>
          <p:spPr bwMode="auto">
            <a:xfrm>
              <a:off x="4527550" y="3943027"/>
              <a:ext cx="63500" cy="157163"/>
            </a:xfrm>
            <a:custGeom>
              <a:avLst/>
              <a:gdLst/>
              <a:ahLst/>
              <a:cxnLst>
                <a:cxn ang="0">
                  <a:pos x="48" y="48"/>
                </a:cxn>
                <a:cxn ang="0">
                  <a:pos x="48" y="24"/>
                </a:cxn>
                <a:cxn ang="0">
                  <a:pos x="48" y="6"/>
                </a:cxn>
                <a:cxn ang="0">
                  <a:pos x="42" y="6"/>
                </a:cxn>
                <a:cxn ang="0">
                  <a:pos x="30" y="0"/>
                </a:cxn>
                <a:cxn ang="0">
                  <a:pos x="24" y="6"/>
                </a:cxn>
                <a:cxn ang="0">
                  <a:pos x="6" y="30"/>
                </a:cxn>
                <a:cxn ang="0">
                  <a:pos x="0" y="30"/>
                </a:cxn>
                <a:cxn ang="0">
                  <a:pos x="0" y="48"/>
                </a:cxn>
                <a:cxn ang="0">
                  <a:pos x="6" y="90"/>
                </a:cxn>
                <a:cxn ang="0">
                  <a:pos x="24" y="120"/>
                </a:cxn>
                <a:cxn ang="0">
                  <a:pos x="24" y="120"/>
                </a:cxn>
                <a:cxn ang="0">
                  <a:pos x="36" y="120"/>
                </a:cxn>
                <a:cxn ang="0">
                  <a:pos x="36" y="90"/>
                </a:cxn>
                <a:cxn ang="0">
                  <a:pos x="48" y="48"/>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24" y="120"/>
                  </a:lnTo>
                  <a:lnTo>
                    <a:pt x="36" y="120"/>
                  </a:lnTo>
                  <a:lnTo>
                    <a:pt x="36" y="90"/>
                  </a:lnTo>
                  <a:lnTo>
                    <a:pt x="48" y="4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1" name="Freeform 394"/>
            <p:cNvSpPr>
              <a:spLocks/>
            </p:cNvSpPr>
            <p:nvPr/>
          </p:nvSpPr>
          <p:spPr bwMode="auto">
            <a:xfrm>
              <a:off x="4503738" y="3984302"/>
              <a:ext cx="55562" cy="123825"/>
            </a:xfrm>
            <a:custGeom>
              <a:avLst/>
              <a:gdLst/>
              <a:ahLst/>
              <a:cxnLst>
                <a:cxn ang="0">
                  <a:pos x="18" y="18"/>
                </a:cxn>
                <a:cxn ang="0">
                  <a:pos x="18" y="0"/>
                </a:cxn>
                <a:cxn ang="0">
                  <a:pos x="6" y="6"/>
                </a:cxn>
                <a:cxn ang="0">
                  <a:pos x="0" y="6"/>
                </a:cxn>
                <a:cxn ang="0">
                  <a:pos x="0" y="12"/>
                </a:cxn>
                <a:cxn ang="0">
                  <a:pos x="0" y="42"/>
                </a:cxn>
                <a:cxn ang="0">
                  <a:pos x="18" y="96"/>
                </a:cxn>
                <a:cxn ang="0">
                  <a:pos x="42" y="90"/>
                </a:cxn>
                <a:cxn ang="0">
                  <a:pos x="24" y="60"/>
                </a:cxn>
                <a:cxn ang="0">
                  <a:pos x="18" y="18"/>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2" name="Freeform 395"/>
            <p:cNvSpPr>
              <a:spLocks/>
            </p:cNvSpPr>
            <p:nvPr/>
          </p:nvSpPr>
          <p:spPr bwMode="auto">
            <a:xfrm>
              <a:off x="4795838" y="4679627"/>
              <a:ext cx="320675" cy="325438"/>
            </a:xfrm>
            <a:custGeom>
              <a:avLst/>
              <a:gdLst/>
              <a:ahLst/>
              <a:cxnLst>
                <a:cxn ang="0">
                  <a:pos x="126" y="252"/>
                </a:cxn>
                <a:cxn ang="0">
                  <a:pos x="144" y="246"/>
                </a:cxn>
                <a:cxn ang="0">
                  <a:pos x="156" y="162"/>
                </a:cxn>
                <a:cxn ang="0">
                  <a:pos x="156" y="108"/>
                </a:cxn>
                <a:cxn ang="0">
                  <a:pos x="168" y="102"/>
                </a:cxn>
                <a:cxn ang="0">
                  <a:pos x="174" y="36"/>
                </a:cxn>
                <a:cxn ang="0">
                  <a:pos x="222" y="24"/>
                </a:cxn>
                <a:cxn ang="0">
                  <a:pos x="240" y="18"/>
                </a:cxn>
                <a:cxn ang="0">
                  <a:pos x="240" y="18"/>
                </a:cxn>
                <a:cxn ang="0">
                  <a:pos x="240" y="18"/>
                </a:cxn>
                <a:cxn ang="0">
                  <a:pos x="246" y="18"/>
                </a:cxn>
                <a:cxn ang="0">
                  <a:pos x="234" y="12"/>
                </a:cxn>
                <a:cxn ang="0">
                  <a:pos x="210" y="12"/>
                </a:cxn>
                <a:cxn ang="0">
                  <a:pos x="216" y="18"/>
                </a:cxn>
                <a:cxn ang="0">
                  <a:pos x="210" y="12"/>
                </a:cxn>
                <a:cxn ang="0">
                  <a:pos x="174" y="18"/>
                </a:cxn>
                <a:cxn ang="0">
                  <a:pos x="126" y="18"/>
                </a:cxn>
                <a:cxn ang="0">
                  <a:pos x="114" y="12"/>
                </a:cxn>
                <a:cxn ang="0">
                  <a:pos x="30" y="12"/>
                </a:cxn>
                <a:cxn ang="0">
                  <a:pos x="18" y="0"/>
                </a:cxn>
                <a:cxn ang="0">
                  <a:pos x="6" y="6"/>
                </a:cxn>
                <a:cxn ang="0">
                  <a:pos x="0" y="42"/>
                </a:cxn>
                <a:cxn ang="0">
                  <a:pos x="42" y="126"/>
                </a:cxn>
                <a:cxn ang="0">
                  <a:pos x="48" y="144"/>
                </a:cxn>
                <a:cxn ang="0">
                  <a:pos x="60" y="222"/>
                </a:cxn>
                <a:cxn ang="0">
                  <a:pos x="90" y="252"/>
                </a:cxn>
                <a:cxn ang="0">
                  <a:pos x="96" y="240"/>
                </a:cxn>
                <a:cxn ang="0">
                  <a:pos x="126" y="252"/>
                </a:cxn>
              </a:cxnLst>
              <a:rect l="0" t="0" r="r" b="b"/>
              <a:pathLst>
                <a:path w="246" h="252">
                  <a:moveTo>
                    <a:pt x="126" y="252"/>
                  </a:moveTo>
                  <a:lnTo>
                    <a:pt x="144" y="246"/>
                  </a:lnTo>
                  <a:lnTo>
                    <a:pt x="156" y="162"/>
                  </a:lnTo>
                  <a:lnTo>
                    <a:pt x="156" y="108"/>
                  </a:lnTo>
                  <a:lnTo>
                    <a:pt x="168" y="102"/>
                  </a:lnTo>
                  <a:lnTo>
                    <a:pt x="174" y="36"/>
                  </a:lnTo>
                  <a:lnTo>
                    <a:pt x="222" y="24"/>
                  </a:lnTo>
                  <a:lnTo>
                    <a:pt x="240" y="18"/>
                  </a:lnTo>
                  <a:lnTo>
                    <a:pt x="240" y="18"/>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3" name="Freeform 396"/>
            <p:cNvSpPr>
              <a:spLocks/>
            </p:cNvSpPr>
            <p:nvPr/>
          </p:nvSpPr>
          <p:spPr bwMode="auto">
            <a:xfrm>
              <a:off x="4527550" y="3787452"/>
              <a:ext cx="79375" cy="93663"/>
            </a:xfrm>
            <a:custGeom>
              <a:avLst/>
              <a:gdLst/>
              <a:ahLst/>
              <a:cxnLst>
                <a:cxn ang="0">
                  <a:pos x="0" y="12"/>
                </a:cxn>
                <a:cxn ang="0">
                  <a:pos x="4" y="11"/>
                </a:cxn>
                <a:cxn ang="0">
                  <a:pos x="9" y="10"/>
                </a:cxn>
                <a:cxn ang="0">
                  <a:pos x="10" y="8"/>
                </a:cxn>
                <a:cxn ang="0">
                  <a:pos x="10" y="0"/>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9525">
              <a:solidFill>
                <a:srgbClr val="0085C3"/>
              </a:solidFill>
              <a:round/>
              <a:headEnd/>
              <a:tailEnd/>
            </a:ln>
          </p:spPr>
          <p:txBody>
            <a:bodyPr/>
            <a:lstStyle/>
            <a:p>
              <a:endParaRPr lang="en-US" dirty="0">
                <a:solidFill>
                  <a:srgbClr val="444444"/>
                </a:solidFill>
              </a:endParaRPr>
            </a:p>
          </p:txBody>
        </p:sp>
        <p:sp>
          <p:nvSpPr>
            <p:cNvPr id="134" name="Freeform 397"/>
            <p:cNvSpPr>
              <a:spLocks/>
            </p:cNvSpPr>
            <p:nvPr/>
          </p:nvSpPr>
          <p:spPr bwMode="auto">
            <a:xfrm>
              <a:off x="220663" y="1714177"/>
              <a:ext cx="676275" cy="922338"/>
            </a:xfrm>
            <a:custGeom>
              <a:avLst/>
              <a:gdLst/>
              <a:ahLst/>
              <a:cxnLst>
                <a:cxn ang="0">
                  <a:pos x="504" y="96"/>
                </a:cxn>
                <a:cxn ang="0">
                  <a:pos x="486" y="78"/>
                </a:cxn>
                <a:cxn ang="0">
                  <a:pos x="432" y="84"/>
                </a:cxn>
                <a:cxn ang="0">
                  <a:pos x="354" y="48"/>
                </a:cxn>
                <a:cxn ang="0">
                  <a:pos x="318" y="54"/>
                </a:cxn>
                <a:cxn ang="0">
                  <a:pos x="288" y="36"/>
                </a:cxn>
                <a:cxn ang="0">
                  <a:pos x="282" y="18"/>
                </a:cxn>
                <a:cxn ang="0">
                  <a:pos x="228" y="0"/>
                </a:cxn>
                <a:cxn ang="0">
                  <a:pos x="198" y="24"/>
                </a:cxn>
                <a:cxn ang="0">
                  <a:pos x="150" y="42"/>
                </a:cxn>
                <a:cxn ang="0">
                  <a:pos x="114" y="66"/>
                </a:cxn>
                <a:cxn ang="0">
                  <a:pos x="90" y="126"/>
                </a:cxn>
                <a:cxn ang="0">
                  <a:pos x="42" y="138"/>
                </a:cxn>
                <a:cxn ang="0">
                  <a:pos x="42" y="174"/>
                </a:cxn>
                <a:cxn ang="0">
                  <a:pos x="78" y="222"/>
                </a:cxn>
                <a:cxn ang="0">
                  <a:pos x="114" y="240"/>
                </a:cxn>
                <a:cxn ang="0">
                  <a:pos x="114" y="264"/>
                </a:cxn>
                <a:cxn ang="0">
                  <a:pos x="90" y="276"/>
                </a:cxn>
                <a:cxn ang="0">
                  <a:pos x="60" y="264"/>
                </a:cxn>
                <a:cxn ang="0">
                  <a:pos x="0" y="306"/>
                </a:cxn>
                <a:cxn ang="0">
                  <a:pos x="18" y="324"/>
                </a:cxn>
                <a:cxn ang="0">
                  <a:pos x="42" y="348"/>
                </a:cxn>
                <a:cxn ang="0">
                  <a:pos x="96" y="348"/>
                </a:cxn>
                <a:cxn ang="0">
                  <a:pos x="138" y="354"/>
                </a:cxn>
                <a:cxn ang="0">
                  <a:pos x="120" y="396"/>
                </a:cxn>
                <a:cxn ang="0">
                  <a:pos x="72" y="414"/>
                </a:cxn>
                <a:cxn ang="0">
                  <a:pos x="36" y="438"/>
                </a:cxn>
                <a:cxn ang="0">
                  <a:pos x="30" y="468"/>
                </a:cxn>
                <a:cxn ang="0">
                  <a:pos x="72" y="498"/>
                </a:cxn>
                <a:cxn ang="0">
                  <a:pos x="78" y="529"/>
                </a:cxn>
                <a:cxn ang="0">
                  <a:pos x="108" y="541"/>
                </a:cxn>
                <a:cxn ang="0">
                  <a:pos x="114" y="583"/>
                </a:cxn>
                <a:cxn ang="0">
                  <a:pos x="156" y="577"/>
                </a:cxn>
                <a:cxn ang="0">
                  <a:pos x="210" y="577"/>
                </a:cxn>
                <a:cxn ang="0">
                  <a:pos x="180" y="631"/>
                </a:cxn>
                <a:cxn ang="0">
                  <a:pos x="90" y="709"/>
                </a:cxn>
                <a:cxn ang="0">
                  <a:pos x="192" y="655"/>
                </a:cxn>
                <a:cxn ang="0">
                  <a:pos x="270" y="571"/>
                </a:cxn>
                <a:cxn ang="0">
                  <a:pos x="264" y="553"/>
                </a:cxn>
                <a:cxn ang="0">
                  <a:pos x="312" y="492"/>
                </a:cxn>
                <a:cxn ang="0">
                  <a:pos x="324" y="517"/>
                </a:cxn>
                <a:cxn ang="0">
                  <a:pos x="330" y="547"/>
                </a:cxn>
                <a:cxn ang="0">
                  <a:pos x="366" y="517"/>
                </a:cxn>
                <a:cxn ang="0">
                  <a:pos x="408" y="492"/>
                </a:cxn>
                <a:cxn ang="0">
                  <a:pos x="426" y="505"/>
                </a:cxn>
                <a:cxn ang="0">
                  <a:pos x="516" y="523"/>
                </a:cxn>
                <a:cxn ang="0">
                  <a:pos x="516" y="96"/>
                </a:cxn>
                <a:cxn ang="0">
                  <a:pos x="504" y="96"/>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5" name="Freeform 398"/>
            <p:cNvSpPr>
              <a:spLocks/>
            </p:cNvSpPr>
            <p:nvPr/>
          </p:nvSpPr>
          <p:spPr bwMode="auto">
            <a:xfrm>
              <a:off x="896938" y="1676077"/>
              <a:ext cx="2119312" cy="1452563"/>
            </a:xfrm>
            <a:custGeom>
              <a:avLst/>
              <a:gdLst/>
              <a:ahLst/>
              <a:cxnLst>
                <a:cxn ang="0">
                  <a:pos x="973" y="955"/>
                </a:cxn>
                <a:cxn ang="0">
                  <a:pos x="1111" y="1081"/>
                </a:cxn>
                <a:cxn ang="0">
                  <a:pos x="1190" y="1093"/>
                </a:cxn>
                <a:cxn ang="0">
                  <a:pos x="1262" y="1051"/>
                </a:cxn>
                <a:cxn ang="0">
                  <a:pos x="1370" y="979"/>
                </a:cxn>
                <a:cxn ang="0">
                  <a:pos x="1406" y="1045"/>
                </a:cxn>
                <a:cxn ang="0">
                  <a:pos x="1448" y="1033"/>
                </a:cxn>
                <a:cxn ang="0">
                  <a:pos x="1448" y="1075"/>
                </a:cxn>
                <a:cxn ang="0">
                  <a:pos x="1520" y="1009"/>
                </a:cxn>
                <a:cxn ang="0">
                  <a:pos x="1442" y="967"/>
                </a:cxn>
                <a:cxn ang="0">
                  <a:pos x="1466" y="925"/>
                </a:cxn>
                <a:cxn ang="0">
                  <a:pos x="1340" y="979"/>
                </a:cxn>
                <a:cxn ang="0">
                  <a:pos x="1400" y="913"/>
                </a:cxn>
                <a:cxn ang="0">
                  <a:pos x="1496" y="895"/>
                </a:cxn>
                <a:cxn ang="0">
                  <a:pos x="1592" y="859"/>
                </a:cxn>
                <a:cxn ang="0">
                  <a:pos x="1598" y="775"/>
                </a:cxn>
                <a:cxn ang="0">
                  <a:pos x="1514" y="703"/>
                </a:cxn>
                <a:cxn ang="0">
                  <a:pos x="1448" y="553"/>
                </a:cxn>
                <a:cxn ang="0">
                  <a:pos x="1388" y="619"/>
                </a:cxn>
                <a:cxn ang="0">
                  <a:pos x="1358" y="607"/>
                </a:cxn>
                <a:cxn ang="0">
                  <a:pos x="1322" y="516"/>
                </a:cxn>
                <a:cxn ang="0">
                  <a:pos x="1262" y="480"/>
                </a:cxn>
                <a:cxn ang="0">
                  <a:pos x="1202" y="474"/>
                </a:cxn>
                <a:cxn ang="0">
                  <a:pos x="1202" y="535"/>
                </a:cxn>
                <a:cxn ang="0">
                  <a:pos x="1190" y="625"/>
                </a:cxn>
                <a:cxn ang="0">
                  <a:pos x="1166" y="751"/>
                </a:cxn>
                <a:cxn ang="0">
                  <a:pos x="1154" y="859"/>
                </a:cxn>
                <a:cxn ang="0">
                  <a:pos x="1117" y="739"/>
                </a:cxn>
                <a:cxn ang="0">
                  <a:pos x="943" y="667"/>
                </a:cxn>
                <a:cxn ang="0">
                  <a:pos x="901" y="613"/>
                </a:cxn>
                <a:cxn ang="0">
                  <a:pos x="931" y="450"/>
                </a:cxn>
                <a:cxn ang="0">
                  <a:pos x="991" y="402"/>
                </a:cxn>
                <a:cxn ang="0">
                  <a:pos x="1027" y="342"/>
                </a:cxn>
                <a:cxn ang="0">
                  <a:pos x="1099" y="282"/>
                </a:cxn>
                <a:cxn ang="0">
                  <a:pos x="1111" y="204"/>
                </a:cxn>
                <a:cxn ang="0">
                  <a:pos x="1099" y="138"/>
                </a:cxn>
                <a:cxn ang="0">
                  <a:pos x="1051" y="192"/>
                </a:cxn>
                <a:cxn ang="0">
                  <a:pos x="1003" y="180"/>
                </a:cxn>
                <a:cxn ang="0">
                  <a:pos x="961" y="186"/>
                </a:cxn>
                <a:cxn ang="0">
                  <a:pos x="925" y="114"/>
                </a:cxn>
                <a:cxn ang="0">
                  <a:pos x="877" y="0"/>
                </a:cxn>
                <a:cxn ang="0">
                  <a:pos x="847" y="114"/>
                </a:cxn>
                <a:cxn ang="0">
                  <a:pos x="895" y="186"/>
                </a:cxn>
                <a:cxn ang="0">
                  <a:pos x="847" y="204"/>
                </a:cxn>
                <a:cxn ang="0">
                  <a:pos x="811" y="234"/>
                </a:cxn>
                <a:cxn ang="0">
                  <a:pos x="709" y="222"/>
                </a:cxn>
                <a:cxn ang="0">
                  <a:pos x="619" y="210"/>
                </a:cxn>
                <a:cxn ang="0">
                  <a:pos x="631" y="264"/>
                </a:cxn>
                <a:cxn ang="0">
                  <a:pos x="583" y="222"/>
                </a:cxn>
                <a:cxn ang="0">
                  <a:pos x="487" y="210"/>
                </a:cxn>
                <a:cxn ang="0">
                  <a:pos x="457" y="174"/>
                </a:cxn>
                <a:cxn ang="0">
                  <a:pos x="343" y="132"/>
                </a:cxn>
                <a:cxn ang="0">
                  <a:pos x="259" y="96"/>
                </a:cxn>
                <a:cxn ang="0">
                  <a:pos x="115" y="180"/>
                </a:cxn>
                <a:cxn ang="0">
                  <a:pos x="37" y="138"/>
                </a:cxn>
                <a:cxn ang="0">
                  <a:pos x="0" y="553"/>
                </a:cxn>
                <a:cxn ang="0">
                  <a:pos x="61" y="583"/>
                </a:cxn>
                <a:cxn ang="0">
                  <a:pos x="175" y="679"/>
                </a:cxn>
                <a:cxn ang="0">
                  <a:pos x="211" y="757"/>
                </a:cxn>
                <a:cxn ang="0">
                  <a:pos x="277" y="859"/>
                </a:cxn>
                <a:cxn ang="0">
                  <a:pos x="349" y="931"/>
                </a:cxn>
                <a:cxn ang="0">
                  <a:pos x="931" y="94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6" name="Freeform 399"/>
            <p:cNvSpPr>
              <a:spLocks/>
            </p:cNvSpPr>
            <p:nvPr/>
          </p:nvSpPr>
          <p:spPr bwMode="auto">
            <a:xfrm>
              <a:off x="1296988" y="2885752"/>
              <a:ext cx="1435100" cy="741363"/>
            </a:xfrm>
            <a:custGeom>
              <a:avLst/>
              <a:gdLst/>
              <a:ahLst/>
              <a:cxnLst>
                <a:cxn ang="0">
                  <a:pos x="300" y="439"/>
                </a:cxn>
                <a:cxn ang="0">
                  <a:pos x="348" y="433"/>
                </a:cxn>
                <a:cxn ang="0">
                  <a:pos x="432" y="475"/>
                </a:cxn>
                <a:cxn ang="0">
                  <a:pos x="474" y="523"/>
                </a:cxn>
                <a:cxn ang="0">
                  <a:pos x="528" y="553"/>
                </a:cxn>
                <a:cxn ang="0">
                  <a:pos x="528" y="511"/>
                </a:cxn>
                <a:cxn ang="0">
                  <a:pos x="570" y="469"/>
                </a:cxn>
                <a:cxn ang="0">
                  <a:pos x="666" y="475"/>
                </a:cxn>
                <a:cxn ang="0">
                  <a:pos x="744" y="463"/>
                </a:cxn>
                <a:cxn ang="0">
                  <a:pos x="780" y="487"/>
                </a:cxn>
                <a:cxn ang="0">
                  <a:pos x="829" y="565"/>
                </a:cxn>
                <a:cxn ang="0">
                  <a:pos x="841" y="511"/>
                </a:cxn>
                <a:cxn ang="0">
                  <a:pos x="847" y="409"/>
                </a:cxn>
                <a:cxn ang="0">
                  <a:pos x="931" y="343"/>
                </a:cxn>
                <a:cxn ang="0">
                  <a:pos x="919" y="271"/>
                </a:cxn>
                <a:cxn ang="0">
                  <a:pos x="943" y="277"/>
                </a:cxn>
                <a:cxn ang="0">
                  <a:pos x="949" y="253"/>
                </a:cxn>
                <a:cxn ang="0">
                  <a:pos x="979" y="217"/>
                </a:cxn>
                <a:cxn ang="0">
                  <a:pos x="1039" y="193"/>
                </a:cxn>
                <a:cxn ang="0">
                  <a:pos x="1099" y="114"/>
                </a:cxn>
                <a:cxn ang="0">
                  <a:pos x="1063" y="48"/>
                </a:cxn>
                <a:cxn ang="0">
                  <a:pos x="955" y="120"/>
                </a:cxn>
                <a:cxn ang="0">
                  <a:pos x="883" y="162"/>
                </a:cxn>
                <a:cxn ang="0">
                  <a:pos x="804" y="150"/>
                </a:cxn>
                <a:cxn ang="0">
                  <a:pos x="666" y="24"/>
                </a:cxn>
                <a:cxn ang="0">
                  <a:pos x="564" y="0"/>
                </a:cxn>
                <a:cxn ang="0">
                  <a:pos x="48" y="36"/>
                </a:cxn>
                <a:cxn ang="0">
                  <a:pos x="36" y="24"/>
                </a:cxn>
                <a:cxn ang="0">
                  <a:pos x="18" y="78"/>
                </a:cxn>
                <a:cxn ang="0">
                  <a:pos x="0" y="174"/>
                </a:cxn>
                <a:cxn ang="0">
                  <a:pos x="12" y="235"/>
                </a:cxn>
                <a:cxn ang="0">
                  <a:pos x="66" y="337"/>
                </a:cxn>
                <a:cxn ang="0">
                  <a:pos x="138" y="403"/>
                </a:cxn>
                <a:cxn ang="0">
                  <a:pos x="192" y="409"/>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7" name="Freeform 400"/>
            <p:cNvSpPr>
              <a:spLocks/>
            </p:cNvSpPr>
            <p:nvPr/>
          </p:nvSpPr>
          <p:spPr bwMode="auto">
            <a:xfrm>
              <a:off x="2212975" y="3892227"/>
              <a:ext cx="111125" cy="112713"/>
            </a:xfrm>
            <a:custGeom>
              <a:avLst/>
              <a:gdLst/>
              <a:ahLst/>
              <a:cxnLst>
                <a:cxn ang="0">
                  <a:pos x="14" y="14"/>
                </a:cxn>
                <a:cxn ang="0">
                  <a:pos x="13" y="11"/>
                </a:cxn>
                <a:cxn ang="0">
                  <a:pos x="14" y="0"/>
                </a:cxn>
                <a:cxn ang="0">
                  <a:pos x="7" y="3"/>
                </a:cxn>
                <a:cxn ang="0">
                  <a:pos x="0" y="6"/>
                </a:cxn>
                <a:cxn ang="0">
                  <a:pos x="5" y="14"/>
                </a:cxn>
                <a:cxn ang="0">
                  <a:pos x="9" y="13"/>
                </a:cxn>
                <a:cxn ang="0">
                  <a:pos x="14" y="14"/>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38" name="Freeform 401"/>
            <p:cNvSpPr>
              <a:spLocks/>
            </p:cNvSpPr>
            <p:nvPr/>
          </p:nvSpPr>
          <p:spPr bwMode="auto">
            <a:xfrm>
              <a:off x="2252663" y="3995415"/>
              <a:ext cx="95250" cy="69850"/>
            </a:xfrm>
            <a:custGeom>
              <a:avLst/>
              <a:gdLst/>
              <a:ahLst/>
              <a:cxnLst>
                <a:cxn ang="0">
                  <a:pos x="9" y="1"/>
                </a:cxn>
                <a:cxn ang="0">
                  <a:pos x="4" y="0"/>
                </a:cxn>
                <a:cxn ang="0">
                  <a:pos x="0" y="1"/>
                </a:cxn>
                <a:cxn ang="0">
                  <a:pos x="2" y="3"/>
                </a:cxn>
                <a:cxn ang="0">
                  <a:pos x="11" y="9"/>
                </a:cxn>
                <a:cxn ang="0">
                  <a:pos x="12" y="5"/>
                </a:cxn>
                <a:cxn ang="0">
                  <a:pos x="9" y="1"/>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grpFill/>
            <a:ln w="9525">
              <a:solidFill>
                <a:srgbClr val="0085C3"/>
              </a:solidFill>
              <a:round/>
              <a:headEnd/>
              <a:tailEnd/>
            </a:ln>
          </p:spPr>
          <p:txBody>
            <a:bodyPr/>
            <a:lstStyle/>
            <a:p>
              <a:endParaRPr lang="en-US" dirty="0">
                <a:solidFill>
                  <a:srgbClr val="444444"/>
                </a:solidFill>
              </a:endParaRPr>
            </a:p>
          </p:txBody>
        </p:sp>
        <p:sp>
          <p:nvSpPr>
            <p:cNvPr id="139" name="Freeform 402"/>
            <p:cNvSpPr>
              <a:spLocks/>
            </p:cNvSpPr>
            <p:nvPr/>
          </p:nvSpPr>
          <p:spPr bwMode="auto">
            <a:xfrm>
              <a:off x="2339975" y="4035102"/>
              <a:ext cx="141288" cy="60325"/>
            </a:xfrm>
            <a:custGeom>
              <a:avLst/>
              <a:gdLst/>
              <a:ahLst/>
              <a:cxnLst>
                <a:cxn ang="0">
                  <a:pos x="14" y="1"/>
                </a:cxn>
                <a:cxn ang="0">
                  <a:pos x="9" y="1"/>
                </a:cxn>
                <a:cxn ang="0">
                  <a:pos x="2" y="1"/>
                </a:cxn>
                <a:cxn ang="0">
                  <a:pos x="1" y="0"/>
                </a:cxn>
                <a:cxn ang="0">
                  <a:pos x="0" y="4"/>
                </a:cxn>
                <a:cxn ang="0">
                  <a:pos x="4" y="8"/>
                </a:cxn>
                <a:cxn ang="0">
                  <a:pos x="6" y="8"/>
                </a:cxn>
                <a:cxn ang="0">
                  <a:pos x="7" y="6"/>
                </a:cxn>
                <a:cxn ang="0">
                  <a:pos x="10" y="3"/>
                </a:cxn>
                <a:cxn ang="0">
                  <a:pos x="14" y="4"/>
                </a:cxn>
                <a:cxn ang="0">
                  <a:pos x="15" y="7"/>
                </a:cxn>
                <a:cxn ang="0">
                  <a:pos x="18" y="4"/>
                </a:cxn>
                <a:cxn ang="0">
                  <a:pos x="14" y="1"/>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40" name="Freeform 403"/>
            <p:cNvSpPr>
              <a:spLocks/>
            </p:cNvSpPr>
            <p:nvPr/>
          </p:nvSpPr>
          <p:spPr bwMode="auto">
            <a:xfrm>
              <a:off x="2433638" y="3965252"/>
              <a:ext cx="290512" cy="319088"/>
            </a:xfrm>
            <a:custGeom>
              <a:avLst/>
              <a:gdLst/>
              <a:ahLst/>
              <a:cxnLst>
                <a:cxn ang="0">
                  <a:pos x="37" y="34"/>
                </a:cxn>
                <a:cxn ang="0">
                  <a:pos x="37" y="34"/>
                </a:cxn>
                <a:cxn ang="0">
                  <a:pos x="37" y="27"/>
                </a:cxn>
                <a:cxn ang="0">
                  <a:pos x="35" y="23"/>
                </a:cxn>
                <a:cxn ang="0">
                  <a:pos x="36" y="21"/>
                </a:cxn>
                <a:cxn ang="0">
                  <a:pos x="31" y="20"/>
                </a:cxn>
                <a:cxn ang="0">
                  <a:pos x="21" y="16"/>
                </a:cxn>
                <a:cxn ang="0">
                  <a:pos x="19" y="11"/>
                </a:cxn>
                <a:cxn ang="0">
                  <a:pos x="20" y="3"/>
                </a:cxn>
                <a:cxn ang="0">
                  <a:pos x="24" y="1"/>
                </a:cxn>
                <a:cxn ang="0">
                  <a:pos x="24" y="0"/>
                </a:cxn>
                <a:cxn ang="0">
                  <a:pos x="17" y="2"/>
                </a:cxn>
                <a:cxn ang="0">
                  <a:pos x="13" y="4"/>
                </a:cxn>
                <a:cxn ang="0">
                  <a:pos x="11" y="9"/>
                </a:cxn>
                <a:cxn ang="0">
                  <a:pos x="9" y="10"/>
                </a:cxn>
                <a:cxn ang="0">
                  <a:pos x="6" y="13"/>
                </a:cxn>
                <a:cxn ang="0">
                  <a:pos x="3" y="16"/>
                </a:cxn>
                <a:cxn ang="0">
                  <a:pos x="4" y="18"/>
                </a:cxn>
                <a:cxn ang="0">
                  <a:pos x="5" y="23"/>
                </a:cxn>
                <a:cxn ang="0">
                  <a:pos x="5" y="26"/>
                </a:cxn>
                <a:cxn ang="0">
                  <a:pos x="6" y="30"/>
                </a:cxn>
                <a:cxn ang="0">
                  <a:pos x="2" y="33"/>
                </a:cxn>
                <a:cxn ang="0">
                  <a:pos x="0" y="35"/>
                </a:cxn>
                <a:cxn ang="0">
                  <a:pos x="8" y="38"/>
                </a:cxn>
                <a:cxn ang="0">
                  <a:pos x="12" y="41"/>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grpFill/>
            <a:ln w="9525">
              <a:solidFill>
                <a:srgbClr val="0085C3"/>
              </a:solidFill>
              <a:round/>
              <a:headEnd/>
              <a:tailEnd/>
            </a:ln>
          </p:spPr>
          <p:txBody>
            <a:bodyPr/>
            <a:lstStyle/>
            <a:p>
              <a:endParaRPr lang="en-US" dirty="0">
                <a:solidFill>
                  <a:srgbClr val="444444"/>
                </a:solidFill>
              </a:endParaRPr>
            </a:p>
          </p:txBody>
        </p:sp>
        <p:sp>
          <p:nvSpPr>
            <p:cNvPr id="141" name="Freeform 404"/>
            <p:cNvSpPr>
              <a:spLocks/>
            </p:cNvSpPr>
            <p:nvPr/>
          </p:nvSpPr>
          <p:spPr bwMode="auto">
            <a:xfrm>
              <a:off x="2528888" y="4230365"/>
              <a:ext cx="195262" cy="139700"/>
            </a:xfrm>
            <a:custGeom>
              <a:avLst/>
              <a:gdLst/>
              <a:ahLst/>
              <a:cxnLst>
                <a:cxn ang="0">
                  <a:pos x="0" y="42"/>
                </a:cxn>
                <a:cxn ang="0">
                  <a:pos x="0" y="42"/>
                </a:cxn>
                <a:cxn ang="0">
                  <a:pos x="30" y="60"/>
                </a:cxn>
                <a:cxn ang="0">
                  <a:pos x="48" y="78"/>
                </a:cxn>
                <a:cxn ang="0">
                  <a:pos x="72" y="78"/>
                </a:cxn>
                <a:cxn ang="0">
                  <a:pos x="84" y="96"/>
                </a:cxn>
                <a:cxn ang="0">
                  <a:pos x="90" y="90"/>
                </a:cxn>
                <a:cxn ang="0">
                  <a:pos x="84" y="96"/>
                </a:cxn>
                <a:cxn ang="0">
                  <a:pos x="96" y="108"/>
                </a:cxn>
                <a:cxn ang="0">
                  <a:pos x="108" y="42"/>
                </a:cxn>
                <a:cxn ang="0">
                  <a:pos x="102" y="12"/>
                </a:cxn>
                <a:cxn ang="0">
                  <a:pos x="150" y="0"/>
                </a:cxn>
                <a:cxn ang="0">
                  <a:pos x="0" y="42"/>
                </a:cxn>
              </a:cxnLst>
              <a:rect l="0" t="0" r="r" b="b"/>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lnTo>
                    <a:pt x="0" y="4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42" name="Freeform 405"/>
            <p:cNvSpPr>
              <a:spLocks/>
            </p:cNvSpPr>
            <p:nvPr/>
          </p:nvSpPr>
          <p:spPr bwMode="auto">
            <a:xfrm>
              <a:off x="2528888" y="4230365"/>
              <a:ext cx="195262" cy="139700"/>
            </a:xfrm>
            <a:custGeom>
              <a:avLst/>
              <a:gdLst/>
              <a:ahLst/>
              <a:cxnLst>
                <a:cxn ang="0">
                  <a:pos x="0" y="42"/>
                </a:cxn>
                <a:cxn ang="0">
                  <a:pos x="0" y="42"/>
                </a:cxn>
                <a:cxn ang="0">
                  <a:pos x="30" y="60"/>
                </a:cxn>
                <a:cxn ang="0">
                  <a:pos x="48" y="78"/>
                </a:cxn>
                <a:cxn ang="0">
                  <a:pos x="72" y="78"/>
                </a:cxn>
                <a:cxn ang="0">
                  <a:pos x="84" y="96"/>
                </a:cxn>
                <a:cxn ang="0">
                  <a:pos x="90" y="90"/>
                </a:cxn>
                <a:cxn ang="0">
                  <a:pos x="84" y="96"/>
                </a:cxn>
                <a:cxn ang="0">
                  <a:pos x="96" y="108"/>
                </a:cxn>
                <a:cxn ang="0">
                  <a:pos x="108" y="42"/>
                </a:cxn>
                <a:cxn ang="0">
                  <a:pos x="102" y="12"/>
                </a:cxn>
                <a:cxn ang="0">
                  <a:pos x="150" y="0"/>
                </a:cxn>
              </a:cxnLst>
              <a:rect l="0" t="0" r="r" b="b"/>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path>
              </a:pathLst>
            </a:custGeom>
            <a:grpFill/>
            <a:ln w="9525">
              <a:solidFill>
                <a:srgbClr val="0085C3"/>
              </a:solidFill>
              <a:round/>
              <a:headEnd/>
              <a:tailEnd/>
            </a:ln>
          </p:spPr>
          <p:txBody>
            <a:bodyPr/>
            <a:lstStyle/>
            <a:p>
              <a:endParaRPr lang="en-US" dirty="0">
                <a:solidFill>
                  <a:srgbClr val="444444"/>
                </a:solidFill>
              </a:endParaRPr>
            </a:p>
          </p:txBody>
        </p:sp>
        <p:sp>
          <p:nvSpPr>
            <p:cNvPr id="143" name="Freeform 406"/>
            <p:cNvSpPr>
              <a:spLocks/>
            </p:cNvSpPr>
            <p:nvPr/>
          </p:nvSpPr>
          <p:spPr bwMode="auto">
            <a:xfrm>
              <a:off x="2873375" y="4057327"/>
              <a:ext cx="117475" cy="179388"/>
            </a:xfrm>
            <a:custGeom>
              <a:avLst/>
              <a:gdLst/>
              <a:ahLst/>
              <a:cxnLst>
                <a:cxn ang="0">
                  <a:pos x="90" y="126"/>
                </a:cxn>
                <a:cxn ang="0">
                  <a:pos x="78" y="102"/>
                </a:cxn>
                <a:cxn ang="0">
                  <a:pos x="66" y="78"/>
                </a:cxn>
                <a:cxn ang="0">
                  <a:pos x="84" y="60"/>
                </a:cxn>
                <a:cxn ang="0">
                  <a:pos x="90" y="42"/>
                </a:cxn>
                <a:cxn ang="0">
                  <a:pos x="66" y="36"/>
                </a:cxn>
                <a:cxn ang="0">
                  <a:pos x="60" y="18"/>
                </a:cxn>
                <a:cxn ang="0">
                  <a:pos x="36" y="0"/>
                </a:cxn>
                <a:cxn ang="0">
                  <a:pos x="12" y="24"/>
                </a:cxn>
                <a:cxn ang="0">
                  <a:pos x="0" y="42"/>
                </a:cxn>
                <a:cxn ang="0">
                  <a:pos x="6" y="60"/>
                </a:cxn>
                <a:cxn ang="0">
                  <a:pos x="18" y="66"/>
                </a:cxn>
                <a:cxn ang="0">
                  <a:pos x="30" y="84"/>
                </a:cxn>
                <a:cxn ang="0">
                  <a:pos x="24" y="120"/>
                </a:cxn>
                <a:cxn ang="0">
                  <a:pos x="42" y="138"/>
                </a:cxn>
                <a:cxn ang="0">
                  <a:pos x="60" y="132"/>
                </a:cxn>
                <a:cxn ang="0">
                  <a:pos x="90" y="126"/>
                </a:cxn>
                <a:cxn ang="0">
                  <a:pos x="90" y="126"/>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lnTo>
                    <a:pt x="90" y="12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44" name="Freeform 407"/>
            <p:cNvSpPr>
              <a:spLocks/>
            </p:cNvSpPr>
            <p:nvPr/>
          </p:nvSpPr>
          <p:spPr bwMode="auto">
            <a:xfrm>
              <a:off x="2873375" y="4057327"/>
              <a:ext cx="117475" cy="179388"/>
            </a:xfrm>
            <a:custGeom>
              <a:avLst/>
              <a:gdLst/>
              <a:ahLst/>
              <a:cxnLst>
                <a:cxn ang="0">
                  <a:pos x="90" y="126"/>
                </a:cxn>
                <a:cxn ang="0">
                  <a:pos x="78" y="102"/>
                </a:cxn>
                <a:cxn ang="0">
                  <a:pos x="66" y="78"/>
                </a:cxn>
                <a:cxn ang="0">
                  <a:pos x="84" y="60"/>
                </a:cxn>
                <a:cxn ang="0">
                  <a:pos x="90" y="42"/>
                </a:cxn>
                <a:cxn ang="0">
                  <a:pos x="66" y="36"/>
                </a:cxn>
                <a:cxn ang="0">
                  <a:pos x="60" y="18"/>
                </a:cxn>
                <a:cxn ang="0">
                  <a:pos x="36" y="0"/>
                </a:cxn>
                <a:cxn ang="0">
                  <a:pos x="12" y="24"/>
                </a:cxn>
                <a:cxn ang="0">
                  <a:pos x="0" y="42"/>
                </a:cxn>
                <a:cxn ang="0">
                  <a:pos x="6" y="60"/>
                </a:cxn>
                <a:cxn ang="0">
                  <a:pos x="18" y="66"/>
                </a:cxn>
                <a:cxn ang="0">
                  <a:pos x="30" y="84"/>
                </a:cxn>
                <a:cxn ang="0">
                  <a:pos x="24" y="120"/>
                </a:cxn>
                <a:cxn ang="0">
                  <a:pos x="42" y="138"/>
                </a:cxn>
                <a:cxn ang="0">
                  <a:pos x="60" y="132"/>
                </a:cxn>
                <a:cxn ang="0">
                  <a:pos x="90" y="126"/>
                </a:cxn>
                <a:cxn ang="0">
                  <a:pos x="90" y="126"/>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lnTo>
                    <a:pt x="90" y="126"/>
                  </a:lnTo>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45" name="Freeform 408"/>
            <p:cNvSpPr>
              <a:spLocks/>
            </p:cNvSpPr>
            <p:nvPr/>
          </p:nvSpPr>
          <p:spPr bwMode="auto">
            <a:xfrm>
              <a:off x="3048000" y="4128765"/>
              <a:ext cx="76200" cy="93662"/>
            </a:xfrm>
            <a:custGeom>
              <a:avLst/>
              <a:gdLst/>
              <a:ahLst/>
              <a:cxnLst>
                <a:cxn ang="0">
                  <a:pos x="6" y="42"/>
                </a:cxn>
                <a:cxn ang="0">
                  <a:pos x="6" y="66"/>
                </a:cxn>
                <a:cxn ang="0">
                  <a:pos x="12" y="72"/>
                </a:cxn>
                <a:cxn ang="0">
                  <a:pos x="36" y="60"/>
                </a:cxn>
                <a:cxn ang="0">
                  <a:pos x="60" y="24"/>
                </a:cxn>
                <a:cxn ang="0">
                  <a:pos x="18" y="0"/>
                </a:cxn>
                <a:cxn ang="0">
                  <a:pos x="6" y="0"/>
                </a:cxn>
                <a:cxn ang="0">
                  <a:pos x="0" y="18"/>
                </a:cxn>
                <a:cxn ang="0">
                  <a:pos x="6" y="42"/>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46" name="Freeform 409"/>
            <p:cNvSpPr>
              <a:spLocks/>
            </p:cNvSpPr>
            <p:nvPr/>
          </p:nvSpPr>
          <p:spPr bwMode="auto">
            <a:xfrm>
              <a:off x="2576513" y="4824090"/>
              <a:ext cx="484187" cy="1006475"/>
            </a:xfrm>
            <a:custGeom>
              <a:avLst/>
              <a:gdLst/>
              <a:ahLst/>
              <a:cxnLst>
                <a:cxn ang="0">
                  <a:pos x="47" y="37"/>
                </a:cxn>
                <a:cxn ang="0">
                  <a:pos x="48" y="32"/>
                </a:cxn>
                <a:cxn ang="0">
                  <a:pos x="50" y="29"/>
                </a:cxn>
                <a:cxn ang="0">
                  <a:pos x="50" y="29"/>
                </a:cxn>
                <a:cxn ang="0">
                  <a:pos x="57" y="22"/>
                </a:cxn>
                <a:cxn ang="0">
                  <a:pos x="60" y="20"/>
                </a:cxn>
                <a:cxn ang="0">
                  <a:pos x="62" y="14"/>
                </a:cxn>
                <a:cxn ang="0">
                  <a:pos x="61" y="13"/>
                </a:cxn>
                <a:cxn ang="0">
                  <a:pos x="58" y="15"/>
                </a:cxn>
                <a:cxn ang="0">
                  <a:pos x="52" y="18"/>
                </a:cxn>
                <a:cxn ang="0">
                  <a:pos x="47" y="17"/>
                </a:cxn>
                <a:cxn ang="0">
                  <a:pos x="48" y="10"/>
                </a:cxn>
                <a:cxn ang="0">
                  <a:pos x="45" y="8"/>
                </a:cxn>
                <a:cxn ang="0">
                  <a:pos x="39" y="6"/>
                </a:cxn>
                <a:cxn ang="0">
                  <a:pos x="36" y="4"/>
                </a:cxn>
                <a:cxn ang="0">
                  <a:pos x="33" y="0"/>
                </a:cxn>
                <a:cxn ang="0">
                  <a:pos x="33" y="0"/>
                </a:cxn>
                <a:cxn ang="0">
                  <a:pos x="29" y="1"/>
                </a:cxn>
                <a:cxn ang="0">
                  <a:pos x="28" y="2"/>
                </a:cxn>
                <a:cxn ang="0">
                  <a:pos x="23" y="1"/>
                </a:cxn>
                <a:cxn ang="0">
                  <a:pos x="21" y="1"/>
                </a:cxn>
                <a:cxn ang="0">
                  <a:pos x="19" y="2"/>
                </a:cxn>
                <a:cxn ang="0">
                  <a:pos x="20" y="3"/>
                </a:cxn>
                <a:cxn ang="0">
                  <a:pos x="19" y="7"/>
                </a:cxn>
                <a:cxn ang="0">
                  <a:pos x="16" y="10"/>
                </a:cxn>
                <a:cxn ang="0">
                  <a:pos x="16" y="16"/>
                </a:cxn>
                <a:cxn ang="0">
                  <a:pos x="14" y="20"/>
                </a:cxn>
                <a:cxn ang="0">
                  <a:pos x="11" y="33"/>
                </a:cxn>
                <a:cxn ang="0">
                  <a:pos x="12" y="43"/>
                </a:cxn>
                <a:cxn ang="0">
                  <a:pos x="6" y="56"/>
                </a:cxn>
                <a:cxn ang="0">
                  <a:pos x="5" y="70"/>
                </a:cxn>
                <a:cxn ang="0">
                  <a:pos x="5" y="77"/>
                </a:cxn>
                <a:cxn ang="0">
                  <a:pos x="4" y="84"/>
                </a:cxn>
                <a:cxn ang="0">
                  <a:pos x="6" y="88"/>
                </a:cxn>
                <a:cxn ang="0">
                  <a:pos x="3" y="104"/>
                </a:cxn>
                <a:cxn ang="0">
                  <a:pos x="0" y="111"/>
                </a:cxn>
                <a:cxn ang="0">
                  <a:pos x="1" y="116"/>
                </a:cxn>
                <a:cxn ang="0">
                  <a:pos x="4" y="122"/>
                </a:cxn>
                <a:cxn ang="0">
                  <a:pos x="20" y="129"/>
                </a:cxn>
                <a:cxn ang="0">
                  <a:pos x="16" y="125"/>
                </a:cxn>
                <a:cxn ang="0">
                  <a:pos x="14" y="118"/>
                </a:cxn>
                <a:cxn ang="0">
                  <a:pos x="16" y="113"/>
                </a:cxn>
                <a:cxn ang="0">
                  <a:pos x="19" y="107"/>
                </a:cxn>
                <a:cxn ang="0">
                  <a:pos x="22" y="104"/>
                </a:cxn>
                <a:cxn ang="0">
                  <a:pos x="24" y="99"/>
                </a:cxn>
                <a:cxn ang="0">
                  <a:pos x="21" y="97"/>
                </a:cxn>
                <a:cxn ang="0">
                  <a:pos x="19" y="93"/>
                </a:cxn>
                <a:cxn ang="0">
                  <a:pos x="24" y="87"/>
                </a:cxn>
                <a:cxn ang="0">
                  <a:pos x="27" y="83"/>
                </a:cxn>
                <a:cxn ang="0">
                  <a:pos x="30" y="77"/>
                </a:cxn>
                <a:cxn ang="0">
                  <a:pos x="28" y="74"/>
                </a:cxn>
                <a:cxn ang="0">
                  <a:pos x="28" y="72"/>
                </a:cxn>
                <a:cxn ang="0">
                  <a:pos x="34" y="70"/>
                </a:cxn>
                <a:cxn ang="0">
                  <a:pos x="36" y="66"/>
                </a:cxn>
                <a:cxn ang="0">
                  <a:pos x="37" y="62"/>
                </a:cxn>
                <a:cxn ang="0">
                  <a:pos x="47" y="59"/>
                </a:cxn>
                <a:cxn ang="0">
                  <a:pos x="51" y="56"/>
                </a:cxn>
                <a:cxn ang="0">
                  <a:pos x="53" y="51"/>
                </a:cxn>
                <a:cxn ang="0">
                  <a:pos x="51" y="47"/>
                </a:cxn>
                <a:cxn ang="0">
                  <a:pos x="48" y="44"/>
                </a:cxn>
                <a:cxn ang="0">
                  <a:pos x="51" y="45"/>
                </a:cxn>
                <a:cxn ang="0">
                  <a:pos x="47" y="42"/>
                </a:cxn>
                <a:cxn ang="0">
                  <a:pos x="47" y="37"/>
                </a:cxn>
              </a:cxnLst>
              <a:rect l="0" t="0" r="r" b="b"/>
              <a:pathLst>
                <a:path w="62" h="129">
                  <a:moveTo>
                    <a:pt x="47" y="37"/>
                  </a:moveTo>
                  <a:cubicBezTo>
                    <a:pt x="48" y="32"/>
                    <a:pt x="48" y="32"/>
                    <a:pt x="48" y="32"/>
                  </a:cubicBezTo>
                  <a:cubicBezTo>
                    <a:pt x="50" y="29"/>
                    <a:pt x="50" y="29"/>
                    <a:pt x="50" y="29"/>
                  </a:cubicBezTo>
                  <a:cubicBezTo>
                    <a:pt x="50" y="29"/>
                    <a:pt x="50" y="29"/>
                    <a:pt x="50" y="29"/>
                  </a:cubicBezTo>
                  <a:cubicBezTo>
                    <a:pt x="57" y="22"/>
                    <a:pt x="57" y="22"/>
                    <a:pt x="57" y="22"/>
                  </a:cubicBezTo>
                  <a:cubicBezTo>
                    <a:pt x="60" y="20"/>
                    <a:pt x="60" y="20"/>
                    <a:pt x="60" y="20"/>
                  </a:cubicBezTo>
                  <a:cubicBezTo>
                    <a:pt x="62" y="14"/>
                    <a:pt x="62" y="14"/>
                    <a:pt x="62" y="14"/>
                  </a:cubicBezTo>
                  <a:cubicBezTo>
                    <a:pt x="61" y="13"/>
                    <a:pt x="61" y="13"/>
                    <a:pt x="61" y="13"/>
                  </a:cubicBezTo>
                  <a:cubicBezTo>
                    <a:pt x="58" y="15"/>
                    <a:pt x="58" y="15"/>
                    <a:pt x="58" y="15"/>
                  </a:cubicBezTo>
                  <a:cubicBezTo>
                    <a:pt x="52" y="18"/>
                    <a:pt x="52" y="18"/>
                    <a:pt x="52" y="18"/>
                  </a:cubicBezTo>
                  <a:cubicBezTo>
                    <a:pt x="47" y="17"/>
                    <a:pt x="47" y="17"/>
                    <a:pt x="47" y="17"/>
                  </a:cubicBezTo>
                  <a:cubicBezTo>
                    <a:pt x="48" y="10"/>
                    <a:pt x="48" y="10"/>
                    <a:pt x="48" y="10"/>
                  </a:cubicBezTo>
                  <a:cubicBezTo>
                    <a:pt x="45" y="8"/>
                    <a:pt x="45" y="8"/>
                    <a:pt x="45" y="8"/>
                  </a:cubicBezTo>
                  <a:cubicBezTo>
                    <a:pt x="39" y="6"/>
                    <a:pt x="39" y="6"/>
                    <a:pt x="39" y="6"/>
                  </a:cubicBezTo>
                  <a:cubicBezTo>
                    <a:pt x="36" y="4"/>
                    <a:pt x="36" y="4"/>
                    <a:pt x="36" y="4"/>
                  </a:cubicBezTo>
                  <a:cubicBezTo>
                    <a:pt x="33" y="0"/>
                    <a:pt x="33" y="0"/>
                    <a:pt x="33" y="0"/>
                  </a:cubicBezTo>
                  <a:cubicBezTo>
                    <a:pt x="33" y="0"/>
                    <a:pt x="33" y="0"/>
                    <a:pt x="33" y="0"/>
                  </a:cubicBezTo>
                  <a:cubicBezTo>
                    <a:pt x="29" y="1"/>
                    <a:pt x="29" y="1"/>
                    <a:pt x="29" y="1"/>
                  </a:cubicBezTo>
                  <a:cubicBezTo>
                    <a:pt x="28" y="2"/>
                    <a:pt x="28" y="2"/>
                    <a:pt x="28" y="2"/>
                  </a:cubicBezTo>
                  <a:cubicBezTo>
                    <a:pt x="23" y="1"/>
                    <a:pt x="23" y="1"/>
                    <a:pt x="23" y="1"/>
                  </a:cubicBezTo>
                  <a:cubicBezTo>
                    <a:pt x="21" y="1"/>
                    <a:pt x="21" y="1"/>
                    <a:pt x="21" y="1"/>
                  </a:cubicBezTo>
                  <a:cubicBezTo>
                    <a:pt x="19" y="2"/>
                    <a:pt x="19" y="2"/>
                    <a:pt x="19" y="2"/>
                  </a:cubicBezTo>
                  <a:cubicBezTo>
                    <a:pt x="20" y="3"/>
                    <a:pt x="20" y="3"/>
                    <a:pt x="20" y="3"/>
                  </a:cubicBezTo>
                  <a:cubicBezTo>
                    <a:pt x="19" y="7"/>
                    <a:pt x="19" y="7"/>
                    <a:pt x="19" y="7"/>
                  </a:cubicBezTo>
                  <a:cubicBezTo>
                    <a:pt x="16" y="10"/>
                    <a:pt x="16" y="10"/>
                    <a:pt x="16" y="10"/>
                  </a:cubicBezTo>
                  <a:cubicBezTo>
                    <a:pt x="16" y="16"/>
                    <a:pt x="16" y="16"/>
                    <a:pt x="16" y="16"/>
                  </a:cubicBezTo>
                  <a:cubicBezTo>
                    <a:pt x="14" y="20"/>
                    <a:pt x="14" y="20"/>
                    <a:pt x="14" y="20"/>
                  </a:cubicBezTo>
                  <a:cubicBezTo>
                    <a:pt x="11" y="33"/>
                    <a:pt x="11" y="33"/>
                    <a:pt x="11" y="33"/>
                  </a:cubicBezTo>
                  <a:cubicBezTo>
                    <a:pt x="12" y="43"/>
                    <a:pt x="12" y="43"/>
                    <a:pt x="12" y="43"/>
                  </a:cubicBezTo>
                  <a:cubicBezTo>
                    <a:pt x="6" y="56"/>
                    <a:pt x="6" y="56"/>
                    <a:pt x="6" y="56"/>
                  </a:cubicBezTo>
                  <a:cubicBezTo>
                    <a:pt x="5" y="70"/>
                    <a:pt x="5" y="70"/>
                    <a:pt x="5" y="70"/>
                  </a:cubicBezTo>
                  <a:cubicBezTo>
                    <a:pt x="5" y="77"/>
                    <a:pt x="5" y="77"/>
                    <a:pt x="5" y="77"/>
                  </a:cubicBezTo>
                  <a:cubicBezTo>
                    <a:pt x="4" y="84"/>
                    <a:pt x="4" y="84"/>
                    <a:pt x="4" y="84"/>
                  </a:cubicBezTo>
                  <a:cubicBezTo>
                    <a:pt x="6" y="88"/>
                    <a:pt x="6" y="88"/>
                    <a:pt x="6" y="88"/>
                  </a:cubicBezTo>
                  <a:cubicBezTo>
                    <a:pt x="3" y="104"/>
                    <a:pt x="3" y="104"/>
                    <a:pt x="3" y="104"/>
                  </a:cubicBezTo>
                  <a:cubicBezTo>
                    <a:pt x="0" y="111"/>
                    <a:pt x="0" y="111"/>
                    <a:pt x="0" y="111"/>
                  </a:cubicBezTo>
                  <a:cubicBezTo>
                    <a:pt x="1" y="116"/>
                    <a:pt x="1" y="116"/>
                    <a:pt x="1" y="116"/>
                  </a:cubicBezTo>
                  <a:cubicBezTo>
                    <a:pt x="4" y="122"/>
                    <a:pt x="4" y="122"/>
                    <a:pt x="4" y="122"/>
                  </a:cubicBezTo>
                  <a:cubicBezTo>
                    <a:pt x="20" y="129"/>
                    <a:pt x="20" y="129"/>
                    <a:pt x="20" y="129"/>
                  </a:cubicBezTo>
                  <a:cubicBezTo>
                    <a:pt x="16" y="125"/>
                    <a:pt x="16" y="125"/>
                    <a:pt x="16" y="125"/>
                  </a:cubicBezTo>
                  <a:cubicBezTo>
                    <a:pt x="14" y="118"/>
                    <a:pt x="14" y="118"/>
                    <a:pt x="14" y="118"/>
                  </a:cubicBezTo>
                  <a:cubicBezTo>
                    <a:pt x="16" y="113"/>
                    <a:pt x="16" y="113"/>
                    <a:pt x="16" y="113"/>
                  </a:cubicBezTo>
                  <a:cubicBezTo>
                    <a:pt x="19" y="107"/>
                    <a:pt x="19" y="107"/>
                    <a:pt x="19" y="107"/>
                  </a:cubicBezTo>
                  <a:cubicBezTo>
                    <a:pt x="22" y="104"/>
                    <a:pt x="22" y="104"/>
                    <a:pt x="22" y="104"/>
                  </a:cubicBezTo>
                  <a:cubicBezTo>
                    <a:pt x="24" y="99"/>
                    <a:pt x="24" y="99"/>
                    <a:pt x="24" y="99"/>
                  </a:cubicBezTo>
                  <a:cubicBezTo>
                    <a:pt x="21" y="97"/>
                    <a:pt x="21" y="97"/>
                    <a:pt x="21" y="97"/>
                  </a:cubicBezTo>
                  <a:cubicBezTo>
                    <a:pt x="19" y="93"/>
                    <a:pt x="19" y="93"/>
                    <a:pt x="19" y="93"/>
                  </a:cubicBezTo>
                  <a:cubicBezTo>
                    <a:pt x="24" y="87"/>
                    <a:pt x="24" y="87"/>
                    <a:pt x="24" y="87"/>
                  </a:cubicBezTo>
                  <a:cubicBezTo>
                    <a:pt x="27" y="83"/>
                    <a:pt x="27" y="83"/>
                    <a:pt x="27" y="83"/>
                  </a:cubicBezTo>
                  <a:cubicBezTo>
                    <a:pt x="27" y="83"/>
                    <a:pt x="28" y="81"/>
                    <a:pt x="30" y="77"/>
                  </a:cubicBezTo>
                  <a:cubicBezTo>
                    <a:pt x="33" y="73"/>
                    <a:pt x="28" y="74"/>
                    <a:pt x="28" y="74"/>
                  </a:cubicBezTo>
                  <a:cubicBezTo>
                    <a:pt x="28" y="72"/>
                    <a:pt x="28" y="72"/>
                    <a:pt x="28" y="72"/>
                  </a:cubicBezTo>
                  <a:cubicBezTo>
                    <a:pt x="34" y="70"/>
                    <a:pt x="34" y="70"/>
                    <a:pt x="34" y="70"/>
                  </a:cubicBezTo>
                  <a:cubicBezTo>
                    <a:pt x="36" y="66"/>
                    <a:pt x="36" y="66"/>
                    <a:pt x="36" y="66"/>
                  </a:cubicBezTo>
                  <a:cubicBezTo>
                    <a:pt x="37" y="62"/>
                    <a:pt x="37" y="62"/>
                    <a:pt x="37" y="62"/>
                  </a:cubicBezTo>
                  <a:cubicBezTo>
                    <a:pt x="37" y="62"/>
                    <a:pt x="42" y="60"/>
                    <a:pt x="47" y="59"/>
                  </a:cubicBezTo>
                  <a:cubicBezTo>
                    <a:pt x="52" y="58"/>
                    <a:pt x="51" y="56"/>
                    <a:pt x="51" y="56"/>
                  </a:cubicBezTo>
                  <a:cubicBezTo>
                    <a:pt x="53" y="51"/>
                    <a:pt x="53" y="51"/>
                    <a:pt x="53" y="51"/>
                  </a:cubicBezTo>
                  <a:cubicBezTo>
                    <a:pt x="51" y="47"/>
                    <a:pt x="51" y="47"/>
                    <a:pt x="51" y="47"/>
                  </a:cubicBezTo>
                  <a:cubicBezTo>
                    <a:pt x="48" y="44"/>
                    <a:pt x="48" y="44"/>
                    <a:pt x="48" y="44"/>
                  </a:cubicBezTo>
                  <a:cubicBezTo>
                    <a:pt x="51" y="45"/>
                    <a:pt x="51" y="45"/>
                    <a:pt x="51" y="45"/>
                  </a:cubicBezTo>
                  <a:cubicBezTo>
                    <a:pt x="47" y="42"/>
                    <a:pt x="47" y="42"/>
                    <a:pt x="47" y="42"/>
                  </a:cubicBezTo>
                  <a:lnTo>
                    <a:pt x="47" y="3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47" name="Freeform 410"/>
            <p:cNvSpPr>
              <a:spLocks/>
            </p:cNvSpPr>
            <p:nvPr/>
          </p:nvSpPr>
          <p:spPr bwMode="auto">
            <a:xfrm>
              <a:off x="2833688" y="4759002"/>
              <a:ext cx="222250" cy="206375"/>
            </a:xfrm>
            <a:custGeom>
              <a:avLst/>
              <a:gdLst/>
              <a:ahLst/>
              <a:cxnLst>
                <a:cxn ang="0">
                  <a:pos x="48" y="0"/>
                </a:cxn>
                <a:cxn ang="0">
                  <a:pos x="0" y="36"/>
                </a:cxn>
                <a:cxn ang="0">
                  <a:pos x="0" y="48"/>
                </a:cxn>
                <a:cxn ang="0">
                  <a:pos x="18" y="72"/>
                </a:cxn>
                <a:cxn ang="0">
                  <a:pos x="36" y="84"/>
                </a:cxn>
                <a:cxn ang="0">
                  <a:pos x="72" y="96"/>
                </a:cxn>
                <a:cxn ang="0">
                  <a:pos x="90" y="108"/>
                </a:cxn>
                <a:cxn ang="0">
                  <a:pos x="84" y="150"/>
                </a:cxn>
                <a:cxn ang="0">
                  <a:pos x="114" y="156"/>
                </a:cxn>
                <a:cxn ang="0">
                  <a:pos x="150" y="138"/>
                </a:cxn>
                <a:cxn ang="0">
                  <a:pos x="168" y="126"/>
                </a:cxn>
                <a:cxn ang="0">
                  <a:pos x="162" y="114"/>
                </a:cxn>
                <a:cxn ang="0">
                  <a:pos x="162" y="90"/>
                </a:cxn>
                <a:cxn ang="0">
                  <a:pos x="144" y="84"/>
                </a:cxn>
                <a:cxn ang="0">
                  <a:pos x="120" y="54"/>
                </a:cxn>
                <a:cxn ang="0">
                  <a:pos x="108" y="42"/>
                </a:cxn>
                <a:cxn ang="0">
                  <a:pos x="90" y="12"/>
                </a:cxn>
                <a:cxn ang="0">
                  <a:pos x="90" y="6"/>
                </a:cxn>
                <a:cxn ang="0">
                  <a:pos x="78" y="0"/>
                </a:cxn>
                <a:cxn ang="0">
                  <a:pos x="48" y="0"/>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48" name="Freeform 411"/>
            <p:cNvSpPr>
              <a:spLocks/>
            </p:cNvSpPr>
            <p:nvPr/>
          </p:nvSpPr>
          <p:spPr bwMode="auto">
            <a:xfrm>
              <a:off x="2946400" y="5049515"/>
              <a:ext cx="131763" cy="147637"/>
            </a:xfrm>
            <a:custGeom>
              <a:avLst/>
              <a:gdLst/>
              <a:ahLst/>
              <a:cxnLst>
                <a:cxn ang="0">
                  <a:pos x="66" y="24"/>
                </a:cxn>
                <a:cxn ang="0">
                  <a:pos x="36" y="6"/>
                </a:cxn>
                <a:cxn ang="0">
                  <a:pos x="18" y="0"/>
                </a:cxn>
                <a:cxn ang="0">
                  <a:pos x="6" y="18"/>
                </a:cxn>
                <a:cxn ang="0">
                  <a:pos x="0" y="48"/>
                </a:cxn>
                <a:cxn ang="0">
                  <a:pos x="0" y="78"/>
                </a:cxn>
                <a:cxn ang="0">
                  <a:pos x="24" y="96"/>
                </a:cxn>
                <a:cxn ang="0">
                  <a:pos x="36" y="108"/>
                </a:cxn>
                <a:cxn ang="0">
                  <a:pos x="66" y="114"/>
                </a:cxn>
                <a:cxn ang="0">
                  <a:pos x="96" y="90"/>
                </a:cxn>
                <a:cxn ang="0">
                  <a:pos x="102" y="78"/>
                </a:cxn>
                <a:cxn ang="0">
                  <a:pos x="84" y="42"/>
                </a:cxn>
                <a:cxn ang="0">
                  <a:pos x="66" y="24"/>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49" name="Freeform 412"/>
            <p:cNvSpPr>
              <a:spLocks/>
            </p:cNvSpPr>
            <p:nvPr/>
          </p:nvSpPr>
          <p:spPr bwMode="auto">
            <a:xfrm>
              <a:off x="2660650" y="4519290"/>
              <a:ext cx="292100" cy="319087"/>
            </a:xfrm>
            <a:custGeom>
              <a:avLst/>
              <a:gdLst/>
              <a:ahLst/>
              <a:cxnLst>
                <a:cxn ang="0">
                  <a:pos x="22" y="39"/>
                </a:cxn>
                <a:cxn ang="0">
                  <a:pos x="22" y="37"/>
                </a:cxn>
                <a:cxn ang="0">
                  <a:pos x="30" y="31"/>
                </a:cxn>
                <a:cxn ang="0">
                  <a:pos x="35" y="31"/>
                </a:cxn>
                <a:cxn ang="0">
                  <a:pos x="37" y="32"/>
                </a:cxn>
                <a:cxn ang="0">
                  <a:pos x="37" y="25"/>
                </a:cxn>
                <a:cxn ang="0">
                  <a:pos x="37" y="21"/>
                </a:cxn>
                <a:cxn ang="0">
                  <a:pos x="31" y="20"/>
                </a:cxn>
                <a:cxn ang="0">
                  <a:pos x="29" y="17"/>
                </a:cxn>
                <a:cxn ang="0">
                  <a:pos x="29" y="13"/>
                </a:cxn>
                <a:cxn ang="0">
                  <a:pos x="22" y="10"/>
                </a:cxn>
                <a:cxn ang="0">
                  <a:pos x="16" y="7"/>
                </a:cxn>
                <a:cxn ang="0">
                  <a:pos x="15" y="1"/>
                </a:cxn>
                <a:cxn ang="0">
                  <a:pos x="9" y="0"/>
                </a:cxn>
                <a:cxn ang="0">
                  <a:pos x="5" y="3"/>
                </a:cxn>
                <a:cxn ang="0">
                  <a:pos x="1" y="4"/>
                </a:cxn>
                <a:cxn ang="0">
                  <a:pos x="3" y="7"/>
                </a:cxn>
                <a:cxn ang="0">
                  <a:pos x="2" y="15"/>
                </a:cxn>
                <a:cxn ang="0">
                  <a:pos x="1" y="21"/>
                </a:cxn>
                <a:cxn ang="0">
                  <a:pos x="0" y="26"/>
                </a:cxn>
                <a:cxn ang="0">
                  <a:pos x="1" y="25"/>
                </a:cxn>
                <a:cxn ang="0">
                  <a:pos x="4" y="28"/>
                </a:cxn>
                <a:cxn ang="0">
                  <a:pos x="3" y="32"/>
                </a:cxn>
                <a:cxn ang="0">
                  <a:pos x="7" y="39"/>
                </a:cxn>
                <a:cxn ang="0">
                  <a:pos x="8" y="41"/>
                </a:cxn>
                <a:cxn ang="0">
                  <a:pos x="10" y="40"/>
                </a:cxn>
                <a:cxn ang="0">
                  <a:pos x="12" y="40"/>
                </a:cxn>
                <a:cxn ang="0">
                  <a:pos x="17" y="41"/>
                </a:cxn>
                <a:cxn ang="0">
                  <a:pos x="18" y="40"/>
                </a:cxn>
                <a:cxn ang="0">
                  <a:pos x="22" y="39"/>
                </a:cxn>
                <a:cxn ang="0">
                  <a:pos x="22" y="39"/>
                </a:cxn>
              </a:cxnLst>
              <a:rect l="0" t="0" r="r" b="b"/>
              <a:pathLst>
                <a:path w="37" h="41">
                  <a:moveTo>
                    <a:pt x="22" y="39"/>
                  </a:moveTo>
                  <a:cubicBezTo>
                    <a:pt x="22" y="37"/>
                    <a:pt x="22" y="37"/>
                    <a:pt x="22" y="37"/>
                  </a:cubicBezTo>
                  <a:cubicBezTo>
                    <a:pt x="30" y="31"/>
                    <a:pt x="30" y="31"/>
                    <a:pt x="30" y="31"/>
                  </a:cubicBezTo>
                  <a:cubicBezTo>
                    <a:pt x="35" y="31"/>
                    <a:pt x="35" y="31"/>
                    <a:pt x="35" y="31"/>
                  </a:cubicBezTo>
                  <a:cubicBezTo>
                    <a:pt x="37" y="32"/>
                    <a:pt x="37" y="32"/>
                    <a:pt x="37" y="32"/>
                  </a:cubicBezTo>
                  <a:cubicBezTo>
                    <a:pt x="37" y="25"/>
                    <a:pt x="37" y="25"/>
                    <a:pt x="37" y="25"/>
                  </a:cubicBezTo>
                  <a:cubicBezTo>
                    <a:pt x="37" y="21"/>
                    <a:pt x="37" y="21"/>
                    <a:pt x="37" y="21"/>
                  </a:cubicBezTo>
                  <a:cubicBezTo>
                    <a:pt x="37" y="21"/>
                    <a:pt x="32" y="20"/>
                    <a:pt x="31" y="20"/>
                  </a:cubicBezTo>
                  <a:cubicBezTo>
                    <a:pt x="31" y="20"/>
                    <a:pt x="29" y="17"/>
                    <a:pt x="29" y="17"/>
                  </a:cubicBezTo>
                  <a:cubicBezTo>
                    <a:pt x="29" y="13"/>
                    <a:pt x="29" y="13"/>
                    <a:pt x="29" y="13"/>
                  </a:cubicBezTo>
                  <a:cubicBezTo>
                    <a:pt x="22" y="10"/>
                    <a:pt x="22" y="10"/>
                    <a:pt x="22" y="10"/>
                  </a:cubicBezTo>
                  <a:cubicBezTo>
                    <a:pt x="16" y="7"/>
                    <a:pt x="16" y="7"/>
                    <a:pt x="16" y="7"/>
                  </a:cubicBezTo>
                  <a:cubicBezTo>
                    <a:pt x="15" y="1"/>
                    <a:pt x="15" y="1"/>
                    <a:pt x="15" y="1"/>
                  </a:cubicBezTo>
                  <a:cubicBezTo>
                    <a:pt x="9" y="0"/>
                    <a:pt x="9" y="0"/>
                    <a:pt x="9" y="0"/>
                  </a:cubicBezTo>
                  <a:cubicBezTo>
                    <a:pt x="5" y="3"/>
                    <a:pt x="5" y="3"/>
                    <a:pt x="5" y="3"/>
                  </a:cubicBezTo>
                  <a:cubicBezTo>
                    <a:pt x="1" y="4"/>
                    <a:pt x="1" y="4"/>
                    <a:pt x="1" y="4"/>
                  </a:cubicBezTo>
                  <a:cubicBezTo>
                    <a:pt x="3" y="7"/>
                    <a:pt x="3" y="7"/>
                    <a:pt x="3" y="7"/>
                  </a:cubicBezTo>
                  <a:cubicBezTo>
                    <a:pt x="2" y="15"/>
                    <a:pt x="2" y="15"/>
                    <a:pt x="2" y="15"/>
                  </a:cubicBezTo>
                  <a:cubicBezTo>
                    <a:pt x="1" y="21"/>
                    <a:pt x="1" y="21"/>
                    <a:pt x="1" y="21"/>
                  </a:cubicBezTo>
                  <a:cubicBezTo>
                    <a:pt x="0" y="26"/>
                    <a:pt x="0" y="26"/>
                    <a:pt x="0" y="26"/>
                  </a:cubicBezTo>
                  <a:cubicBezTo>
                    <a:pt x="1" y="25"/>
                    <a:pt x="1" y="25"/>
                    <a:pt x="1" y="25"/>
                  </a:cubicBezTo>
                  <a:cubicBezTo>
                    <a:pt x="4" y="28"/>
                    <a:pt x="4" y="28"/>
                    <a:pt x="4" y="28"/>
                  </a:cubicBezTo>
                  <a:cubicBezTo>
                    <a:pt x="3" y="32"/>
                    <a:pt x="3" y="32"/>
                    <a:pt x="3" y="32"/>
                  </a:cubicBezTo>
                  <a:cubicBezTo>
                    <a:pt x="7" y="39"/>
                    <a:pt x="7" y="39"/>
                    <a:pt x="7" y="39"/>
                  </a:cubicBezTo>
                  <a:cubicBezTo>
                    <a:pt x="8" y="41"/>
                    <a:pt x="8" y="41"/>
                    <a:pt x="8" y="41"/>
                  </a:cubicBezTo>
                  <a:cubicBezTo>
                    <a:pt x="10" y="40"/>
                    <a:pt x="10" y="40"/>
                    <a:pt x="10" y="40"/>
                  </a:cubicBezTo>
                  <a:cubicBezTo>
                    <a:pt x="12" y="40"/>
                    <a:pt x="12" y="40"/>
                    <a:pt x="12" y="40"/>
                  </a:cubicBezTo>
                  <a:cubicBezTo>
                    <a:pt x="17" y="41"/>
                    <a:pt x="17" y="41"/>
                    <a:pt x="17" y="41"/>
                  </a:cubicBezTo>
                  <a:cubicBezTo>
                    <a:pt x="18" y="40"/>
                    <a:pt x="18" y="40"/>
                    <a:pt x="18" y="40"/>
                  </a:cubicBezTo>
                  <a:cubicBezTo>
                    <a:pt x="22" y="39"/>
                    <a:pt x="22" y="39"/>
                    <a:pt x="22" y="39"/>
                  </a:cubicBezTo>
                  <a:cubicBezTo>
                    <a:pt x="22" y="39"/>
                    <a:pt x="22" y="39"/>
                    <a:pt x="22" y="39"/>
                  </a:cubicBezTo>
                </a:path>
              </a:pathLst>
            </a:custGeom>
            <a:grpFill/>
            <a:ln w="9525">
              <a:solidFill>
                <a:srgbClr val="0085C3"/>
              </a:solidFill>
              <a:round/>
              <a:headEnd/>
              <a:tailEnd/>
            </a:ln>
          </p:spPr>
          <p:txBody>
            <a:bodyPr/>
            <a:lstStyle/>
            <a:p>
              <a:endParaRPr lang="en-US" dirty="0">
                <a:solidFill>
                  <a:srgbClr val="444444"/>
                </a:solidFill>
              </a:endParaRPr>
            </a:p>
          </p:txBody>
        </p:sp>
        <p:sp>
          <p:nvSpPr>
            <p:cNvPr id="150" name="Freeform 413"/>
            <p:cNvSpPr>
              <a:spLocks/>
            </p:cNvSpPr>
            <p:nvPr/>
          </p:nvSpPr>
          <p:spPr bwMode="auto">
            <a:xfrm>
              <a:off x="2576513" y="4136702"/>
              <a:ext cx="955675" cy="1012825"/>
            </a:xfrm>
            <a:custGeom>
              <a:avLst/>
              <a:gdLst/>
              <a:ahLst/>
              <a:cxnLst>
                <a:cxn ang="0">
                  <a:pos x="62" y="102"/>
                </a:cxn>
                <a:cxn ang="0">
                  <a:pos x="57" y="110"/>
                </a:cxn>
                <a:cxn ang="0">
                  <a:pos x="50" y="117"/>
                </a:cxn>
                <a:cxn ang="0">
                  <a:pos x="50" y="117"/>
                </a:cxn>
                <a:cxn ang="0">
                  <a:pos x="58" y="121"/>
                </a:cxn>
                <a:cxn ang="0">
                  <a:pos x="64" y="130"/>
                </a:cxn>
                <a:cxn ang="0">
                  <a:pos x="69" y="123"/>
                </a:cxn>
                <a:cxn ang="0">
                  <a:pos x="78" y="105"/>
                </a:cxn>
                <a:cxn ang="0">
                  <a:pos x="92" y="92"/>
                </a:cxn>
                <a:cxn ang="0">
                  <a:pos x="101" y="90"/>
                </a:cxn>
                <a:cxn ang="0">
                  <a:pos x="104" y="82"/>
                </a:cxn>
                <a:cxn ang="0">
                  <a:pos x="108" y="75"/>
                </a:cxn>
                <a:cxn ang="0">
                  <a:pos x="112" y="57"/>
                </a:cxn>
                <a:cxn ang="0">
                  <a:pos x="122" y="41"/>
                </a:cxn>
                <a:cxn ang="0">
                  <a:pos x="114" y="32"/>
                </a:cxn>
                <a:cxn ang="0">
                  <a:pos x="95" y="26"/>
                </a:cxn>
                <a:cxn ang="0">
                  <a:pos x="90" y="22"/>
                </a:cxn>
                <a:cxn ang="0">
                  <a:pos x="75" y="15"/>
                </a:cxn>
                <a:cxn ang="0">
                  <a:pos x="71" y="3"/>
                </a:cxn>
                <a:cxn ang="0">
                  <a:pos x="66" y="9"/>
                </a:cxn>
                <a:cxn ang="0">
                  <a:pos x="61" y="10"/>
                </a:cxn>
                <a:cxn ang="0">
                  <a:pos x="56" y="10"/>
                </a:cxn>
                <a:cxn ang="0">
                  <a:pos x="53" y="11"/>
                </a:cxn>
                <a:cxn ang="0">
                  <a:pos x="48" y="12"/>
                </a:cxn>
                <a:cxn ang="0">
                  <a:pos x="42" y="10"/>
                </a:cxn>
                <a:cxn ang="0">
                  <a:pos x="41" y="1"/>
                </a:cxn>
                <a:cxn ang="0">
                  <a:pos x="40" y="2"/>
                </a:cxn>
                <a:cxn ang="0">
                  <a:pos x="27" y="4"/>
                </a:cxn>
                <a:cxn ang="0">
                  <a:pos x="31" y="12"/>
                </a:cxn>
                <a:cxn ang="0">
                  <a:pos x="19" y="12"/>
                </a:cxn>
                <a:cxn ang="0">
                  <a:pos x="12" y="19"/>
                </a:cxn>
                <a:cxn ang="0">
                  <a:pos x="8" y="28"/>
                </a:cxn>
                <a:cxn ang="0">
                  <a:pos x="4" y="33"/>
                </a:cxn>
                <a:cxn ang="0">
                  <a:pos x="0" y="45"/>
                </a:cxn>
                <a:cxn ang="0">
                  <a:pos x="9" y="46"/>
                </a:cxn>
                <a:cxn ang="0">
                  <a:pos x="12" y="52"/>
                </a:cxn>
                <a:cxn ang="0">
                  <a:pos x="16" y="52"/>
                </a:cxn>
                <a:cxn ang="0">
                  <a:pos x="26" y="50"/>
                </a:cxn>
                <a:cxn ang="0">
                  <a:pos x="33" y="59"/>
                </a:cxn>
                <a:cxn ang="0">
                  <a:pos x="40" y="66"/>
                </a:cxn>
                <a:cxn ang="0">
                  <a:pos x="48" y="70"/>
                </a:cxn>
                <a:cxn ang="0">
                  <a:pos x="48" y="81"/>
                </a:cxn>
              </a:cxnLst>
              <a:rect l="0" t="0" r="r" b="b"/>
              <a:pathLst>
                <a:path w="122" h="130">
                  <a:moveTo>
                    <a:pt x="61" y="101"/>
                  </a:moveTo>
                  <a:cubicBezTo>
                    <a:pt x="62" y="102"/>
                    <a:pt x="62" y="102"/>
                    <a:pt x="62" y="102"/>
                  </a:cubicBezTo>
                  <a:cubicBezTo>
                    <a:pt x="60" y="108"/>
                    <a:pt x="60" y="108"/>
                    <a:pt x="60" y="108"/>
                  </a:cubicBezTo>
                  <a:cubicBezTo>
                    <a:pt x="57" y="110"/>
                    <a:pt x="57" y="110"/>
                    <a:pt x="57" y="110"/>
                  </a:cubicBezTo>
                  <a:cubicBezTo>
                    <a:pt x="50" y="117"/>
                    <a:pt x="50" y="117"/>
                    <a:pt x="50" y="117"/>
                  </a:cubicBezTo>
                  <a:cubicBezTo>
                    <a:pt x="50" y="117"/>
                    <a:pt x="50" y="117"/>
                    <a:pt x="50" y="117"/>
                  </a:cubicBezTo>
                  <a:cubicBezTo>
                    <a:pt x="51" y="117"/>
                    <a:pt x="51" y="117"/>
                    <a:pt x="51" y="117"/>
                  </a:cubicBezTo>
                  <a:cubicBezTo>
                    <a:pt x="50" y="117"/>
                    <a:pt x="50" y="117"/>
                    <a:pt x="50" y="117"/>
                  </a:cubicBezTo>
                  <a:cubicBezTo>
                    <a:pt x="53" y="118"/>
                    <a:pt x="53" y="118"/>
                    <a:pt x="53" y="118"/>
                  </a:cubicBezTo>
                  <a:cubicBezTo>
                    <a:pt x="58" y="121"/>
                    <a:pt x="58" y="121"/>
                    <a:pt x="58" y="121"/>
                  </a:cubicBezTo>
                  <a:cubicBezTo>
                    <a:pt x="61" y="124"/>
                    <a:pt x="61" y="124"/>
                    <a:pt x="61" y="124"/>
                  </a:cubicBezTo>
                  <a:cubicBezTo>
                    <a:pt x="64" y="130"/>
                    <a:pt x="64" y="130"/>
                    <a:pt x="64" y="130"/>
                  </a:cubicBezTo>
                  <a:cubicBezTo>
                    <a:pt x="65" y="127"/>
                    <a:pt x="65" y="127"/>
                    <a:pt x="65" y="127"/>
                  </a:cubicBezTo>
                  <a:cubicBezTo>
                    <a:pt x="69" y="123"/>
                    <a:pt x="69" y="123"/>
                    <a:pt x="69" y="123"/>
                  </a:cubicBezTo>
                  <a:cubicBezTo>
                    <a:pt x="74" y="118"/>
                    <a:pt x="74" y="118"/>
                    <a:pt x="74" y="118"/>
                  </a:cubicBezTo>
                  <a:cubicBezTo>
                    <a:pt x="78" y="105"/>
                    <a:pt x="78" y="105"/>
                    <a:pt x="78" y="105"/>
                  </a:cubicBezTo>
                  <a:cubicBezTo>
                    <a:pt x="81" y="99"/>
                    <a:pt x="81" y="99"/>
                    <a:pt x="81" y="99"/>
                  </a:cubicBezTo>
                  <a:cubicBezTo>
                    <a:pt x="92" y="92"/>
                    <a:pt x="92" y="92"/>
                    <a:pt x="92" y="92"/>
                  </a:cubicBezTo>
                  <a:cubicBezTo>
                    <a:pt x="99" y="91"/>
                    <a:pt x="99" y="91"/>
                    <a:pt x="99" y="91"/>
                  </a:cubicBezTo>
                  <a:cubicBezTo>
                    <a:pt x="101" y="90"/>
                    <a:pt x="101" y="90"/>
                    <a:pt x="101" y="90"/>
                  </a:cubicBezTo>
                  <a:cubicBezTo>
                    <a:pt x="103" y="86"/>
                    <a:pt x="103" y="86"/>
                    <a:pt x="103" y="86"/>
                  </a:cubicBezTo>
                  <a:cubicBezTo>
                    <a:pt x="104" y="82"/>
                    <a:pt x="104" y="82"/>
                    <a:pt x="104" y="82"/>
                  </a:cubicBezTo>
                  <a:cubicBezTo>
                    <a:pt x="107" y="77"/>
                    <a:pt x="107" y="77"/>
                    <a:pt x="107" y="77"/>
                  </a:cubicBezTo>
                  <a:cubicBezTo>
                    <a:pt x="108" y="75"/>
                    <a:pt x="108" y="75"/>
                    <a:pt x="108" y="75"/>
                  </a:cubicBezTo>
                  <a:cubicBezTo>
                    <a:pt x="109" y="58"/>
                    <a:pt x="109" y="58"/>
                    <a:pt x="109" y="58"/>
                  </a:cubicBezTo>
                  <a:cubicBezTo>
                    <a:pt x="112" y="57"/>
                    <a:pt x="112" y="57"/>
                    <a:pt x="112" y="57"/>
                  </a:cubicBezTo>
                  <a:cubicBezTo>
                    <a:pt x="122" y="44"/>
                    <a:pt x="122" y="44"/>
                    <a:pt x="122" y="44"/>
                  </a:cubicBezTo>
                  <a:cubicBezTo>
                    <a:pt x="122" y="41"/>
                    <a:pt x="122" y="41"/>
                    <a:pt x="122" y="41"/>
                  </a:cubicBezTo>
                  <a:cubicBezTo>
                    <a:pt x="120" y="34"/>
                    <a:pt x="120" y="34"/>
                    <a:pt x="120" y="34"/>
                  </a:cubicBezTo>
                  <a:cubicBezTo>
                    <a:pt x="114" y="32"/>
                    <a:pt x="114" y="32"/>
                    <a:pt x="114" y="32"/>
                  </a:cubicBezTo>
                  <a:cubicBezTo>
                    <a:pt x="105" y="27"/>
                    <a:pt x="105" y="27"/>
                    <a:pt x="105" y="27"/>
                  </a:cubicBezTo>
                  <a:cubicBezTo>
                    <a:pt x="95" y="26"/>
                    <a:pt x="95" y="26"/>
                    <a:pt x="95" y="26"/>
                  </a:cubicBezTo>
                  <a:cubicBezTo>
                    <a:pt x="92" y="25"/>
                    <a:pt x="92" y="25"/>
                    <a:pt x="92" y="25"/>
                  </a:cubicBezTo>
                  <a:cubicBezTo>
                    <a:pt x="90" y="22"/>
                    <a:pt x="90" y="22"/>
                    <a:pt x="90" y="22"/>
                  </a:cubicBezTo>
                  <a:cubicBezTo>
                    <a:pt x="82" y="19"/>
                    <a:pt x="82" y="19"/>
                    <a:pt x="82" y="19"/>
                  </a:cubicBezTo>
                  <a:cubicBezTo>
                    <a:pt x="75" y="15"/>
                    <a:pt x="75" y="15"/>
                    <a:pt x="75" y="15"/>
                  </a:cubicBezTo>
                  <a:cubicBezTo>
                    <a:pt x="74" y="11"/>
                    <a:pt x="74" y="11"/>
                    <a:pt x="74" y="11"/>
                  </a:cubicBezTo>
                  <a:cubicBezTo>
                    <a:pt x="71" y="3"/>
                    <a:pt x="71" y="3"/>
                    <a:pt x="71" y="3"/>
                  </a:cubicBezTo>
                  <a:cubicBezTo>
                    <a:pt x="70" y="3"/>
                    <a:pt x="70" y="3"/>
                    <a:pt x="70" y="3"/>
                  </a:cubicBezTo>
                  <a:cubicBezTo>
                    <a:pt x="66" y="9"/>
                    <a:pt x="66" y="9"/>
                    <a:pt x="66" y="9"/>
                  </a:cubicBezTo>
                  <a:cubicBezTo>
                    <a:pt x="62" y="11"/>
                    <a:pt x="62" y="11"/>
                    <a:pt x="62" y="11"/>
                  </a:cubicBezTo>
                  <a:cubicBezTo>
                    <a:pt x="61" y="10"/>
                    <a:pt x="61" y="10"/>
                    <a:pt x="61" y="10"/>
                  </a:cubicBezTo>
                  <a:cubicBezTo>
                    <a:pt x="61" y="10"/>
                    <a:pt x="61" y="10"/>
                    <a:pt x="61" y="10"/>
                  </a:cubicBezTo>
                  <a:cubicBezTo>
                    <a:pt x="56" y="10"/>
                    <a:pt x="56" y="10"/>
                    <a:pt x="56" y="10"/>
                  </a:cubicBezTo>
                  <a:cubicBezTo>
                    <a:pt x="54" y="11"/>
                    <a:pt x="54" y="11"/>
                    <a:pt x="54" y="11"/>
                  </a:cubicBezTo>
                  <a:cubicBezTo>
                    <a:pt x="53" y="11"/>
                    <a:pt x="53" y="11"/>
                    <a:pt x="53" y="11"/>
                  </a:cubicBezTo>
                  <a:cubicBezTo>
                    <a:pt x="53" y="11"/>
                    <a:pt x="53" y="11"/>
                    <a:pt x="53" y="11"/>
                  </a:cubicBezTo>
                  <a:cubicBezTo>
                    <a:pt x="48" y="12"/>
                    <a:pt x="48" y="12"/>
                    <a:pt x="48" y="12"/>
                  </a:cubicBezTo>
                  <a:cubicBezTo>
                    <a:pt x="45" y="13"/>
                    <a:pt x="45" y="13"/>
                    <a:pt x="45" y="13"/>
                  </a:cubicBezTo>
                  <a:cubicBezTo>
                    <a:pt x="42" y="10"/>
                    <a:pt x="42" y="10"/>
                    <a:pt x="42" y="10"/>
                  </a:cubicBezTo>
                  <a:cubicBezTo>
                    <a:pt x="43" y="4"/>
                    <a:pt x="43" y="4"/>
                    <a:pt x="43" y="4"/>
                  </a:cubicBezTo>
                  <a:cubicBezTo>
                    <a:pt x="41" y="1"/>
                    <a:pt x="41" y="1"/>
                    <a:pt x="41" y="1"/>
                  </a:cubicBezTo>
                  <a:cubicBezTo>
                    <a:pt x="39" y="0"/>
                    <a:pt x="39" y="0"/>
                    <a:pt x="39" y="0"/>
                  </a:cubicBezTo>
                  <a:cubicBezTo>
                    <a:pt x="40" y="2"/>
                    <a:pt x="40" y="2"/>
                    <a:pt x="40" y="2"/>
                  </a:cubicBezTo>
                  <a:cubicBezTo>
                    <a:pt x="35" y="4"/>
                    <a:pt x="35" y="4"/>
                    <a:pt x="35" y="4"/>
                  </a:cubicBezTo>
                  <a:cubicBezTo>
                    <a:pt x="27" y="4"/>
                    <a:pt x="27" y="4"/>
                    <a:pt x="27" y="4"/>
                  </a:cubicBezTo>
                  <a:cubicBezTo>
                    <a:pt x="30" y="9"/>
                    <a:pt x="30" y="9"/>
                    <a:pt x="30" y="9"/>
                  </a:cubicBezTo>
                  <a:cubicBezTo>
                    <a:pt x="31" y="12"/>
                    <a:pt x="31" y="12"/>
                    <a:pt x="31" y="12"/>
                  </a:cubicBezTo>
                  <a:cubicBezTo>
                    <a:pt x="22" y="15"/>
                    <a:pt x="22" y="15"/>
                    <a:pt x="22" y="15"/>
                  </a:cubicBezTo>
                  <a:cubicBezTo>
                    <a:pt x="19" y="12"/>
                    <a:pt x="19" y="12"/>
                    <a:pt x="19" y="12"/>
                  </a:cubicBezTo>
                  <a:cubicBezTo>
                    <a:pt x="11" y="14"/>
                    <a:pt x="11" y="14"/>
                    <a:pt x="11" y="14"/>
                  </a:cubicBezTo>
                  <a:cubicBezTo>
                    <a:pt x="12" y="19"/>
                    <a:pt x="12" y="19"/>
                    <a:pt x="12" y="19"/>
                  </a:cubicBezTo>
                  <a:cubicBezTo>
                    <a:pt x="10" y="30"/>
                    <a:pt x="10" y="30"/>
                    <a:pt x="10" y="30"/>
                  </a:cubicBezTo>
                  <a:cubicBezTo>
                    <a:pt x="8" y="28"/>
                    <a:pt x="8" y="28"/>
                    <a:pt x="8" y="28"/>
                  </a:cubicBezTo>
                  <a:cubicBezTo>
                    <a:pt x="7" y="31"/>
                    <a:pt x="7" y="31"/>
                    <a:pt x="7" y="31"/>
                  </a:cubicBezTo>
                  <a:cubicBezTo>
                    <a:pt x="4" y="33"/>
                    <a:pt x="4" y="33"/>
                    <a:pt x="4" y="33"/>
                  </a:cubicBezTo>
                  <a:cubicBezTo>
                    <a:pt x="0" y="39"/>
                    <a:pt x="0" y="39"/>
                    <a:pt x="0" y="39"/>
                  </a:cubicBezTo>
                  <a:cubicBezTo>
                    <a:pt x="0" y="45"/>
                    <a:pt x="0" y="45"/>
                    <a:pt x="0" y="45"/>
                  </a:cubicBezTo>
                  <a:cubicBezTo>
                    <a:pt x="4" y="48"/>
                    <a:pt x="4" y="48"/>
                    <a:pt x="4" y="48"/>
                  </a:cubicBezTo>
                  <a:cubicBezTo>
                    <a:pt x="9" y="46"/>
                    <a:pt x="9" y="46"/>
                    <a:pt x="9" y="46"/>
                  </a:cubicBezTo>
                  <a:cubicBezTo>
                    <a:pt x="10" y="52"/>
                    <a:pt x="10" y="52"/>
                    <a:pt x="10" y="52"/>
                  </a:cubicBezTo>
                  <a:cubicBezTo>
                    <a:pt x="12" y="52"/>
                    <a:pt x="12" y="52"/>
                    <a:pt x="12" y="52"/>
                  </a:cubicBezTo>
                  <a:cubicBezTo>
                    <a:pt x="12" y="53"/>
                    <a:pt x="12" y="53"/>
                    <a:pt x="12" y="53"/>
                  </a:cubicBezTo>
                  <a:cubicBezTo>
                    <a:pt x="16" y="52"/>
                    <a:pt x="16" y="52"/>
                    <a:pt x="16" y="52"/>
                  </a:cubicBezTo>
                  <a:cubicBezTo>
                    <a:pt x="20" y="49"/>
                    <a:pt x="20" y="49"/>
                    <a:pt x="20" y="49"/>
                  </a:cubicBezTo>
                  <a:cubicBezTo>
                    <a:pt x="26" y="50"/>
                    <a:pt x="26" y="50"/>
                    <a:pt x="26" y="50"/>
                  </a:cubicBezTo>
                  <a:cubicBezTo>
                    <a:pt x="27" y="56"/>
                    <a:pt x="27" y="56"/>
                    <a:pt x="27" y="56"/>
                  </a:cubicBezTo>
                  <a:cubicBezTo>
                    <a:pt x="33" y="59"/>
                    <a:pt x="33" y="59"/>
                    <a:pt x="33" y="59"/>
                  </a:cubicBezTo>
                  <a:cubicBezTo>
                    <a:pt x="40" y="62"/>
                    <a:pt x="40" y="62"/>
                    <a:pt x="40" y="62"/>
                  </a:cubicBezTo>
                  <a:cubicBezTo>
                    <a:pt x="40" y="66"/>
                    <a:pt x="40" y="66"/>
                    <a:pt x="40" y="66"/>
                  </a:cubicBezTo>
                  <a:cubicBezTo>
                    <a:pt x="40" y="66"/>
                    <a:pt x="42" y="69"/>
                    <a:pt x="42" y="69"/>
                  </a:cubicBezTo>
                  <a:cubicBezTo>
                    <a:pt x="43" y="69"/>
                    <a:pt x="48" y="70"/>
                    <a:pt x="48" y="70"/>
                  </a:cubicBezTo>
                  <a:cubicBezTo>
                    <a:pt x="48" y="74"/>
                    <a:pt x="48" y="74"/>
                    <a:pt x="48" y="74"/>
                  </a:cubicBezTo>
                  <a:cubicBezTo>
                    <a:pt x="48" y="81"/>
                    <a:pt x="48" y="81"/>
                    <a:pt x="48" y="81"/>
                  </a:cubicBezTo>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51" name="Freeform 414"/>
            <p:cNvSpPr>
              <a:spLocks/>
            </p:cNvSpPr>
            <p:nvPr/>
          </p:nvSpPr>
          <p:spPr bwMode="auto">
            <a:xfrm>
              <a:off x="2952750" y="4768527"/>
              <a:ext cx="103188" cy="157163"/>
            </a:xfrm>
            <a:custGeom>
              <a:avLst/>
              <a:gdLst/>
              <a:ahLst/>
              <a:cxnLst>
                <a:cxn ang="0">
                  <a:pos x="0" y="0"/>
                </a:cxn>
                <a:cxn ang="0">
                  <a:pos x="0" y="6"/>
                </a:cxn>
                <a:cxn ang="0">
                  <a:pos x="18" y="36"/>
                </a:cxn>
                <a:cxn ang="0">
                  <a:pos x="30" y="48"/>
                </a:cxn>
                <a:cxn ang="0">
                  <a:pos x="54" y="78"/>
                </a:cxn>
                <a:cxn ang="0">
                  <a:pos x="66" y="96"/>
                </a:cxn>
                <a:cxn ang="0">
                  <a:pos x="72" y="108"/>
                </a:cxn>
                <a:cxn ang="0">
                  <a:pos x="78" y="120"/>
                </a:cxn>
                <a:cxn ang="0">
                  <a:pos x="0" y="0"/>
                </a:cxn>
              </a:cxnLst>
              <a:rect l="0" t="0" r="r" b="b"/>
              <a:pathLst>
                <a:path w="78" h="120">
                  <a:moveTo>
                    <a:pt x="0" y="0"/>
                  </a:moveTo>
                  <a:lnTo>
                    <a:pt x="0" y="6"/>
                  </a:lnTo>
                  <a:lnTo>
                    <a:pt x="18" y="36"/>
                  </a:lnTo>
                  <a:lnTo>
                    <a:pt x="30" y="48"/>
                  </a:lnTo>
                  <a:lnTo>
                    <a:pt x="54" y="78"/>
                  </a:lnTo>
                  <a:lnTo>
                    <a:pt x="66" y="96"/>
                  </a:lnTo>
                  <a:lnTo>
                    <a:pt x="72" y="108"/>
                  </a:lnTo>
                  <a:lnTo>
                    <a:pt x="78" y="120"/>
                  </a:lnTo>
                  <a:lnTo>
                    <a:pt x="0"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52" name="Freeform 415"/>
            <p:cNvSpPr>
              <a:spLocks/>
            </p:cNvSpPr>
            <p:nvPr/>
          </p:nvSpPr>
          <p:spPr bwMode="auto">
            <a:xfrm>
              <a:off x="2952750" y="4768527"/>
              <a:ext cx="103188" cy="157163"/>
            </a:xfrm>
            <a:custGeom>
              <a:avLst/>
              <a:gdLst/>
              <a:ahLst/>
              <a:cxnLst>
                <a:cxn ang="0">
                  <a:pos x="0" y="0"/>
                </a:cxn>
                <a:cxn ang="0">
                  <a:pos x="0" y="6"/>
                </a:cxn>
                <a:cxn ang="0">
                  <a:pos x="18" y="36"/>
                </a:cxn>
                <a:cxn ang="0">
                  <a:pos x="30" y="48"/>
                </a:cxn>
                <a:cxn ang="0">
                  <a:pos x="54" y="78"/>
                </a:cxn>
                <a:cxn ang="0">
                  <a:pos x="66" y="96"/>
                </a:cxn>
                <a:cxn ang="0">
                  <a:pos x="72" y="108"/>
                </a:cxn>
                <a:cxn ang="0">
                  <a:pos x="78" y="120"/>
                </a:cxn>
              </a:cxnLst>
              <a:rect l="0" t="0" r="r" b="b"/>
              <a:pathLst>
                <a:path w="78" h="120">
                  <a:moveTo>
                    <a:pt x="0" y="0"/>
                  </a:moveTo>
                  <a:lnTo>
                    <a:pt x="0" y="6"/>
                  </a:lnTo>
                  <a:lnTo>
                    <a:pt x="18" y="36"/>
                  </a:lnTo>
                  <a:lnTo>
                    <a:pt x="30" y="48"/>
                  </a:lnTo>
                  <a:lnTo>
                    <a:pt x="54" y="78"/>
                  </a:lnTo>
                  <a:lnTo>
                    <a:pt x="66" y="96"/>
                  </a:lnTo>
                  <a:lnTo>
                    <a:pt x="72" y="108"/>
                  </a:lnTo>
                  <a:lnTo>
                    <a:pt x="78" y="120"/>
                  </a:lnTo>
                </a:path>
              </a:pathLst>
            </a:custGeom>
            <a:grpFill/>
            <a:ln w="9525">
              <a:solidFill>
                <a:srgbClr val="0085C3"/>
              </a:solidFill>
              <a:round/>
              <a:headEnd/>
              <a:tailEnd/>
            </a:ln>
          </p:spPr>
          <p:txBody>
            <a:bodyPr/>
            <a:lstStyle/>
            <a:p>
              <a:endParaRPr lang="en-US" dirty="0">
                <a:solidFill>
                  <a:srgbClr val="444444"/>
                </a:solidFill>
              </a:endParaRPr>
            </a:p>
          </p:txBody>
        </p:sp>
        <p:sp>
          <p:nvSpPr>
            <p:cNvPr id="153" name="Freeform 416"/>
            <p:cNvSpPr>
              <a:spLocks/>
            </p:cNvSpPr>
            <p:nvPr/>
          </p:nvSpPr>
          <p:spPr bwMode="auto">
            <a:xfrm>
              <a:off x="2959100" y="4112890"/>
              <a:ext cx="96838" cy="109537"/>
            </a:xfrm>
            <a:custGeom>
              <a:avLst/>
              <a:gdLst/>
              <a:ahLst/>
              <a:cxnLst>
                <a:cxn ang="0">
                  <a:pos x="72" y="78"/>
                </a:cxn>
                <a:cxn ang="0">
                  <a:pos x="72" y="54"/>
                </a:cxn>
                <a:cxn ang="0">
                  <a:pos x="66" y="30"/>
                </a:cxn>
                <a:cxn ang="0">
                  <a:pos x="72" y="12"/>
                </a:cxn>
                <a:cxn ang="0">
                  <a:pos x="24" y="6"/>
                </a:cxn>
                <a:cxn ang="0">
                  <a:pos x="24" y="0"/>
                </a:cxn>
                <a:cxn ang="0">
                  <a:pos x="18" y="18"/>
                </a:cxn>
                <a:cxn ang="0">
                  <a:pos x="0" y="36"/>
                </a:cxn>
                <a:cxn ang="0">
                  <a:pos x="12" y="60"/>
                </a:cxn>
                <a:cxn ang="0">
                  <a:pos x="24" y="84"/>
                </a:cxn>
                <a:cxn ang="0">
                  <a:pos x="30" y="84"/>
                </a:cxn>
                <a:cxn ang="0">
                  <a:pos x="42" y="78"/>
                </a:cxn>
                <a:cxn ang="0">
                  <a:pos x="72" y="78"/>
                </a:cxn>
                <a:cxn ang="0">
                  <a:pos x="72" y="78"/>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lnTo>
                    <a:pt x="72" y="7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54" name="Freeform 417"/>
            <p:cNvSpPr>
              <a:spLocks/>
            </p:cNvSpPr>
            <p:nvPr/>
          </p:nvSpPr>
          <p:spPr bwMode="auto">
            <a:xfrm>
              <a:off x="2959100" y="4112890"/>
              <a:ext cx="96838" cy="109537"/>
            </a:xfrm>
            <a:custGeom>
              <a:avLst/>
              <a:gdLst/>
              <a:ahLst/>
              <a:cxnLst>
                <a:cxn ang="0">
                  <a:pos x="72" y="78"/>
                </a:cxn>
                <a:cxn ang="0">
                  <a:pos x="72" y="54"/>
                </a:cxn>
                <a:cxn ang="0">
                  <a:pos x="66" y="30"/>
                </a:cxn>
                <a:cxn ang="0">
                  <a:pos x="72" y="12"/>
                </a:cxn>
                <a:cxn ang="0">
                  <a:pos x="24" y="6"/>
                </a:cxn>
                <a:cxn ang="0">
                  <a:pos x="24" y="0"/>
                </a:cxn>
                <a:cxn ang="0">
                  <a:pos x="18" y="18"/>
                </a:cxn>
                <a:cxn ang="0">
                  <a:pos x="0" y="36"/>
                </a:cxn>
                <a:cxn ang="0">
                  <a:pos x="12" y="60"/>
                </a:cxn>
                <a:cxn ang="0">
                  <a:pos x="24" y="84"/>
                </a:cxn>
                <a:cxn ang="0">
                  <a:pos x="30" y="84"/>
                </a:cxn>
                <a:cxn ang="0">
                  <a:pos x="42" y="78"/>
                </a:cxn>
                <a:cxn ang="0">
                  <a:pos x="72" y="78"/>
                </a:cxn>
                <a:cxn ang="0">
                  <a:pos x="72" y="78"/>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lnTo>
                    <a:pt x="72" y="78"/>
                  </a:lnTo>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55" name="Freeform 418"/>
            <p:cNvSpPr>
              <a:spLocks/>
            </p:cNvSpPr>
            <p:nvPr/>
          </p:nvSpPr>
          <p:spPr bwMode="auto">
            <a:xfrm>
              <a:off x="2586038" y="3971602"/>
              <a:ext cx="334962" cy="280988"/>
            </a:xfrm>
            <a:custGeom>
              <a:avLst/>
              <a:gdLst/>
              <a:ahLst/>
              <a:cxnLst>
                <a:cxn ang="0">
                  <a:pos x="38" y="21"/>
                </a:cxn>
                <a:cxn ang="0">
                  <a:pos x="37" y="18"/>
                </a:cxn>
                <a:cxn ang="0">
                  <a:pos x="39" y="15"/>
                </a:cxn>
                <a:cxn ang="0">
                  <a:pos x="43" y="11"/>
                </a:cxn>
                <a:cxn ang="0">
                  <a:pos x="42" y="11"/>
                </a:cxn>
                <a:cxn ang="0">
                  <a:pos x="39" y="10"/>
                </a:cxn>
                <a:cxn ang="0">
                  <a:pos x="38" y="8"/>
                </a:cxn>
                <a:cxn ang="0">
                  <a:pos x="32" y="5"/>
                </a:cxn>
                <a:cxn ang="0">
                  <a:pos x="22" y="6"/>
                </a:cxn>
                <a:cxn ang="0">
                  <a:pos x="17" y="5"/>
                </a:cxn>
                <a:cxn ang="0">
                  <a:pos x="16" y="3"/>
                </a:cxn>
                <a:cxn ang="0">
                  <a:pos x="11" y="2"/>
                </a:cxn>
                <a:cxn ang="0">
                  <a:pos x="6" y="3"/>
                </a:cxn>
                <a:cxn ang="0">
                  <a:pos x="5" y="0"/>
                </a:cxn>
                <a:cxn ang="0">
                  <a:pos x="1" y="2"/>
                </a:cxn>
                <a:cxn ang="0">
                  <a:pos x="0" y="10"/>
                </a:cxn>
                <a:cxn ang="0">
                  <a:pos x="2" y="15"/>
                </a:cxn>
                <a:cxn ang="0">
                  <a:pos x="12" y="19"/>
                </a:cxn>
                <a:cxn ang="0">
                  <a:pos x="17" y="20"/>
                </a:cxn>
                <a:cxn ang="0">
                  <a:pos x="16" y="22"/>
                </a:cxn>
                <a:cxn ang="0">
                  <a:pos x="18" y="26"/>
                </a:cxn>
                <a:cxn ang="0">
                  <a:pos x="18" y="33"/>
                </a:cxn>
                <a:cxn ang="0">
                  <a:pos x="18" y="33"/>
                </a:cxn>
                <a:cxn ang="0">
                  <a:pos x="21" y="36"/>
                </a:cxn>
                <a:cxn ang="0">
                  <a:pos x="30" y="33"/>
                </a:cxn>
                <a:cxn ang="0">
                  <a:pos x="29" y="30"/>
                </a:cxn>
                <a:cxn ang="0">
                  <a:pos x="26" y="25"/>
                </a:cxn>
                <a:cxn ang="0">
                  <a:pos x="34" y="25"/>
                </a:cxn>
                <a:cxn ang="0">
                  <a:pos x="39" y="23"/>
                </a:cxn>
                <a:cxn ang="0">
                  <a:pos x="38" y="21"/>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grpFill/>
            <a:ln w="9525">
              <a:solidFill>
                <a:srgbClr val="0085C3"/>
              </a:solidFill>
              <a:round/>
              <a:headEnd/>
              <a:tailEnd/>
            </a:ln>
          </p:spPr>
          <p:txBody>
            <a:bodyPr/>
            <a:lstStyle/>
            <a:p>
              <a:endParaRPr lang="en-US" dirty="0">
                <a:solidFill>
                  <a:srgbClr val="444444"/>
                </a:solidFill>
              </a:endParaRPr>
            </a:p>
          </p:txBody>
        </p:sp>
        <p:sp>
          <p:nvSpPr>
            <p:cNvPr id="156" name="Freeform 419"/>
            <p:cNvSpPr>
              <a:spLocks/>
            </p:cNvSpPr>
            <p:nvPr/>
          </p:nvSpPr>
          <p:spPr bwMode="auto">
            <a:xfrm>
              <a:off x="2371725" y="4284340"/>
              <a:ext cx="315913" cy="436562"/>
            </a:xfrm>
            <a:custGeom>
              <a:avLst/>
              <a:gdLst/>
              <a:ahLst/>
              <a:cxnLst>
                <a:cxn ang="0">
                  <a:pos x="228" y="204"/>
                </a:cxn>
                <a:cxn ang="0">
                  <a:pos x="228" y="198"/>
                </a:cxn>
                <a:cxn ang="0">
                  <a:pos x="216" y="198"/>
                </a:cxn>
                <a:cxn ang="0">
                  <a:pos x="210" y="162"/>
                </a:cxn>
                <a:cxn ang="0">
                  <a:pos x="180" y="174"/>
                </a:cxn>
                <a:cxn ang="0">
                  <a:pos x="156" y="156"/>
                </a:cxn>
                <a:cxn ang="0">
                  <a:pos x="156" y="120"/>
                </a:cxn>
                <a:cxn ang="0">
                  <a:pos x="180" y="84"/>
                </a:cxn>
                <a:cxn ang="0">
                  <a:pos x="198" y="72"/>
                </a:cxn>
                <a:cxn ang="0">
                  <a:pos x="204" y="54"/>
                </a:cxn>
                <a:cxn ang="0">
                  <a:pos x="192" y="36"/>
                </a:cxn>
                <a:cxn ang="0">
                  <a:pos x="168" y="36"/>
                </a:cxn>
                <a:cxn ang="0">
                  <a:pos x="150" y="18"/>
                </a:cxn>
                <a:cxn ang="0">
                  <a:pos x="120" y="0"/>
                </a:cxn>
                <a:cxn ang="0">
                  <a:pos x="120" y="0"/>
                </a:cxn>
                <a:cxn ang="0">
                  <a:pos x="108" y="24"/>
                </a:cxn>
                <a:cxn ang="0">
                  <a:pos x="84" y="48"/>
                </a:cxn>
                <a:cxn ang="0">
                  <a:pos x="66" y="54"/>
                </a:cxn>
                <a:cxn ang="0">
                  <a:pos x="42" y="78"/>
                </a:cxn>
                <a:cxn ang="0">
                  <a:pos x="24" y="72"/>
                </a:cxn>
                <a:cxn ang="0">
                  <a:pos x="18" y="60"/>
                </a:cxn>
                <a:cxn ang="0">
                  <a:pos x="0" y="72"/>
                </a:cxn>
                <a:cxn ang="0">
                  <a:pos x="18" y="114"/>
                </a:cxn>
                <a:cxn ang="0">
                  <a:pos x="54" y="174"/>
                </a:cxn>
                <a:cxn ang="0">
                  <a:pos x="90" y="252"/>
                </a:cxn>
                <a:cxn ang="0">
                  <a:pos x="90" y="264"/>
                </a:cxn>
                <a:cxn ang="0">
                  <a:pos x="216" y="337"/>
                </a:cxn>
                <a:cxn ang="0">
                  <a:pos x="222" y="337"/>
                </a:cxn>
                <a:cxn ang="0">
                  <a:pos x="228" y="307"/>
                </a:cxn>
                <a:cxn ang="0">
                  <a:pos x="234" y="270"/>
                </a:cxn>
                <a:cxn ang="0">
                  <a:pos x="240" y="222"/>
                </a:cxn>
                <a:cxn ang="0">
                  <a:pos x="228" y="204"/>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57" name="Freeform 420"/>
            <p:cNvSpPr>
              <a:spLocks/>
            </p:cNvSpPr>
            <p:nvPr/>
          </p:nvSpPr>
          <p:spPr bwMode="auto">
            <a:xfrm>
              <a:off x="2371725" y="4284340"/>
              <a:ext cx="315913" cy="436562"/>
            </a:xfrm>
            <a:custGeom>
              <a:avLst/>
              <a:gdLst/>
              <a:ahLst/>
              <a:cxnLst>
                <a:cxn ang="0">
                  <a:pos x="228" y="204"/>
                </a:cxn>
                <a:cxn ang="0">
                  <a:pos x="228" y="198"/>
                </a:cxn>
                <a:cxn ang="0">
                  <a:pos x="216" y="198"/>
                </a:cxn>
                <a:cxn ang="0">
                  <a:pos x="210" y="162"/>
                </a:cxn>
                <a:cxn ang="0">
                  <a:pos x="180" y="174"/>
                </a:cxn>
                <a:cxn ang="0">
                  <a:pos x="156" y="156"/>
                </a:cxn>
                <a:cxn ang="0">
                  <a:pos x="156" y="120"/>
                </a:cxn>
                <a:cxn ang="0">
                  <a:pos x="180" y="84"/>
                </a:cxn>
                <a:cxn ang="0">
                  <a:pos x="198" y="72"/>
                </a:cxn>
                <a:cxn ang="0">
                  <a:pos x="204" y="54"/>
                </a:cxn>
                <a:cxn ang="0">
                  <a:pos x="192" y="36"/>
                </a:cxn>
                <a:cxn ang="0">
                  <a:pos x="168" y="36"/>
                </a:cxn>
                <a:cxn ang="0">
                  <a:pos x="150" y="18"/>
                </a:cxn>
                <a:cxn ang="0">
                  <a:pos x="120" y="0"/>
                </a:cxn>
                <a:cxn ang="0">
                  <a:pos x="120" y="0"/>
                </a:cxn>
                <a:cxn ang="0">
                  <a:pos x="108" y="24"/>
                </a:cxn>
                <a:cxn ang="0">
                  <a:pos x="84" y="48"/>
                </a:cxn>
                <a:cxn ang="0">
                  <a:pos x="66" y="54"/>
                </a:cxn>
                <a:cxn ang="0">
                  <a:pos x="42" y="78"/>
                </a:cxn>
                <a:cxn ang="0">
                  <a:pos x="24" y="72"/>
                </a:cxn>
                <a:cxn ang="0">
                  <a:pos x="18" y="60"/>
                </a:cxn>
                <a:cxn ang="0">
                  <a:pos x="0" y="72"/>
                </a:cxn>
                <a:cxn ang="0">
                  <a:pos x="18" y="114"/>
                </a:cxn>
                <a:cxn ang="0">
                  <a:pos x="54" y="174"/>
                </a:cxn>
                <a:cxn ang="0">
                  <a:pos x="90" y="252"/>
                </a:cxn>
                <a:cxn ang="0">
                  <a:pos x="90" y="264"/>
                </a:cxn>
                <a:cxn ang="0">
                  <a:pos x="216" y="337"/>
                </a:cxn>
                <a:cxn ang="0">
                  <a:pos x="222" y="337"/>
                </a:cxn>
                <a:cxn ang="0">
                  <a:pos x="228" y="307"/>
                </a:cxn>
                <a:cxn ang="0">
                  <a:pos x="234" y="270"/>
                </a:cxn>
                <a:cxn ang="0">
                  <a:pos x="240" y="222"/>
                </a:cxn>
                <a:cxn ang="0">
                  <a:pos x="228" y="204"/>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grpFill/>
            <a:ln w="9525">
              <a:solidFill>
                <a:srgbClr val="0085C3"/>
              </a:solidFill>
              <a:round/>
              <a:headEnd/>
              <a:tailEnd/>
            </a:ln>
          </p:spPr>
          <p:txBody>
            <a:bodyPr/>
            <a:lstStyle/>
            <a:p>
              <a:endParaRPr lang="en-US" dirty="0">
                <a:solidFill>
                  <a:srgbClr val="444444"/>
                </a:solidFill>
              </a:endParaRPr>
            </a:p>
          </p:txBody>
        </p:sp>
        <p:sp>
          <p:nvSpPr>
            <p:cNvPr id="158" name="Freeform 421"/>
            <p:cNvSpPr>
              <a:spLocks/>
            </p:cNvSpPr>
            <p:nvPr/>
          </p:nvSpPr>
          <p:spPr bwMode="auto">
            <a:xfrm>
              <a:off x="2393950" y="4236715"/>
              <a:ext cx="134938" cy="149225"/>
            </a:xfrm>
            <a:custGeom>
              <a:avLst/>
              <a:gdLst/>
              <a:ahLst/>
              <a:cxnLst>
                <a:cxn ang="0">
                  <a:pos x="24" y="114"/>
                </a:cxn>
                <a:cxn ang="0">
                  <a:pos x="48" y="90"/>
                </a:cxn>
                <a:cxn ang="0">
                  <a:pos x="66" y="84"/>
                </a:cxn>
                <a:cxn ang="0">
                  <a:pos x="90" y="60"/>
                </a:cxn>
                <a:cxn ang="0">
                  <a:pos x="102" y="36"/>
                </a:cxn>
                <a:cxn ang="0">
                  <a:pos x="78" y="18"/>
                </a:cxn>
                <a:cxn ang="0">
                  <a:pos x="30" y="0"/>
                </a:cxn>
                <a:cxn ang="0">
                  <a:pos x="24" y="12"/>
                </a:cxn>
                <a:cxn ang="0">
                  <a:pos x="0" y="66"/>
                </a:cxn>
                <a:cxn ang="0">
                  <a:pos x="12" y="90"/>
                </a:cxn>
                <a:cxn ang="0">
                  <a:pos x="0" y="96"/>
                </a:cxn>
                <a:cxn ang="0">
                  <a:pos x="6" y="108"/>
                </a:cxn>
                <a:cxn ang="0">
                  <a:pos x="24" y="114"/>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59" name="Freeform 422"/>
            <p:cNvSpPr>
              <a:spLocks/>
            </p:cNvSpPr>
            <p:nvPr/>
          </p:nvSpPr>
          <p:spPr bwMode="auto">
            <a:xfrm>
              <a:off x="2173288" y="3870002"/>
              <a:ext cx="150812" cy="69850"/>
            </a:xfrm>
            <a:custGeom>
              <a:avLst/>
              <a:gdLst/>
              <a:ahLst/>
              <a:cxnLst>
                <a:cxn ang="0">
                  <a:pos x="19" y="3"/>
                </a:cxn>
                <a:cxn ang="0">
                  <a:pos x="8" y="1"/>
                </a:cxn>
                <a:cxn ang="0">
                  <a:pos x="5" y="0"/>
                </a:cxn>
                <a:cxn ang="0">
                  <a:pos x="1" y="3"/>
                </a:cxn>
                <a:cxn ang="0">
                  <a:pos x="0" y="6"/>
                </a:cxn>
                <a:cxn ang="0">
                  <a:pos x="0" y="6"/>
                </a:cxn>
                <a:cxn ang="0">
                  <a:pos x="5" y="9"/>
                </a:cxn>
                <a:cxn ang="0">
                  <a:pos x="12" y="6"/>
                </a:cxn>
                <a:cxn ang="0">
                  <a:pos x="19" y="3"/>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0" name="Freeform 423"/>
            <p:cNvSpPr>
              <a:spLocks/>
            </p:cNvSpPr>
            <p:nvPr/>
          </p:nvSpPr>
          <p:spPr bwMode="auto">
            <a:xfrm>
              <a:off x="2093913" y="3828727"/>
              <a:ext cx="119062" cy="98425"/>
            </a:xfrm>
            <a:custGeom>
              <a:avLst/>
              <a:gdLst/>
              <a:ahLst/>
              <a:cxnLst>
                <a:cxn ang="0">
                  <a:pos x="15" y="5"/>
                </a:cxn>
                <a:cxn ang="0">
                  <a:pos x="11" y="4"/>
                </a:cxn>
                <a:cxn ang="0">
                  <a:pos x="11" y="0"/>
                </a:cxn>
                <a:cxn ang="0">
                  <a:pos x="6" y="0"/>
                </a:cxn>
                <a:cxn ang="0">
                  <a:pos x="4" y="1"/>
                </a:cxn>
                <a:cxn ang="0">
                  <a:pos x="6" y="5"/>
                </a:cxn>
                <a:cxn ang="0">
                  <a:pos x="3" y="5"/>
                </a:cxn>
                <a:cxn ang="0">
                  <a:pos x="1" y="8"/>
                </a:cxn>
                <a:cxn ang="0">
                  <a:pos x="0" y="10"/>
                </a:cxn>
                <a:cxn ang="0">
                  <a:pos x="1" y="11"/>
                </a:cxn>
                <a:cxn ang="0">
                  <a:pos x="7" y="12"/>
                </a:cxn>
                <a:cxn ang="0">
                  <a:pos x="10" y="11"/>
                </a:cxn>
                <a:cxn ang="0">
                  <a:pos x="11" y="8"/>
                </a:cxn>
                <a:cxn ang="0">
                  <a:pos x="15" y="5"/>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1" name="Freeform 424"/>
            <p:cNvSpPr>
              <a:spLocks/>
            </p:cNvSpPr>
            <p:nvPr/>
          </p:nvSpPr>
          <p:spPr bwMode="auto">
            <a:xfrm>
              <a:off x="1484313" y="3415977"/>
              <a:ext cx="754062" cy="493713"/>
            </a:xfrm>
            <a:custGeom>
              <a:avLst/>
              <a:gdLst/>
              <a:ahLst/>
              <a:cxnLst>
                <a:cxn ang="0">
                  <a:pos x="486" y="348"/>
                </a:cxn>
                <a:cxn ang="0">
                  <a:pos x="504" y="348"/>
                </a:cxn>
                <a:cxn ang="0">
                  <a:pos x="492" y="324"/>
                </a:cxn>
                <a:cxn ang="0">
                  <a:pos x="504" y="318"/>
                </a:cxn>
                <a:cxn ang="0">
                  <a:pos x="534" y="318"/>
                </a:cxn>
                <a:cxn ang="0">
                  <a:pos x="528" y="312"/>
                </a:cxn>
                <a:cxn ang="0">
                  <a:pos x="546" y="300"/>
                </a:cxn>
                <a:cxn ang="0">
                  <a:pos x="564" y="288"/>
                </a:cxn>
                <a:cxn ang="0">
                  <a:pos x="576" y="240"/>
                </a:cxn>
                <a:cxn ang="0">
                  <a:pos x="504" y="252"/>
                </a:cxn>
                <a:cxn ang="0">
                  <a:pos x="474" y="294"/>
                </a:cxn>
                <a:cxn ang="0">
                  <a:pos x="426" y="300"/>
                </a:cxn>
                <a:cxn ang="0">
                  <a:pos x="378" y="240"/>
                </a:cxn>
                <a:cxn ang="0">
                  <a:pos x="372" y="162"/>
                </a:cxn>
                <a:cxn ang="0">
                  <a:pos x="384" y="144"/>
                </a:cxn>
                <a:cxn ang="0">
                  <a:pos x="354" y="138"/>
                </a:cxn>
                <a:cxn ang="0">
                  <a:pos x="330" y="114"/>
                </a:cxn>
                <a:cxn ang="0">
                  <a:pos x="312" y="84"/>
                </a:cxn>
                <a:cxn ang="0">
                  <a:pos x="288" y="66"/>
                </a:cxn>
                <a:cxn ang="0">
                  <a:pos x="252" y="78"/>
                </a:cxn>
                <a:cxn ang="0">
                  <a:pos x="204" y="24"/>
                </a:cxn>
                <a:cxn ang="0">
                  <a:pos x="174" y="18"/>
                </a:cxn>
                <a:cxn ang="0">
                  <a:pos x="156" y="30"/>
                </a:cxn>
                <a:cxn ang="0">
                  <a:pos x="108" y="30"/>
                </a:cxn>
                <a:cxn ang="0">
                  <a:pos x="48" y="0"/>
                </a:cxn>
                <a:cxn ang="0">
                  <a:pos x="0" y="6"/>
                </a:cxn>
                <a:cxn ang="0">
                  <a:pos x="36" y="72"/>
                </a:cxn>
                <a:cxn ang="0">
                  <a:pos x="60" y="108"/>
                </a:cxn>
                <a:cxn ang="0">
                  <a:pos x="54" y="120"/>
                </a:cxn>
                <a:cxn ang="0">
                  <a:pos x="96" y="150"/>
                </a:cxn>
                <a:cxn ang="0">
                  <a:pos x="102" y="180"/>
                </a:cxn>
                <a:cxn ang="0">
                  <a:pos x="120" y="192"/>
                </a:cxn>
                <a:cxn ang="0">
                  <a:pos x="144" y="216"/>
                </a:cxn>
                <a:cxn ang="0">
                  <a:pos x="150" y="198"/>
                </a:cxn>
                <a:cxn ang="0">
                  <a:pos x="126" y="180"/>
                </a:cxn>
                <a:cxn ang="0">
                  <a:pos x="102" y="126"/>
                </a:cxn>
                <a:cxn ang="0">
                  <a:pos x="60" y="66"/>
                </a:cxn>
                <a:cxn ang="0">
                  <a:pos x="48" y="30"/>
                </a:cxn>
                <a:cxn ang="0">
                  <a:pos x="78" y="42"/>
                </a:cxn>
                <a:cxn ang="0">
                  <a:pos x="108" y="102"/>
                </a:cxn>
                <a:cxn ang="0">
                  <a:pos x="120" y="120"/>
                </a:cxn>
                <a:cxn ang="0">
                  <a:pos x="150" y="138"/>
                </a:cxn>
                <a:cxn ang="0">
                  <a:pos x="150" y="156"/>
                </a:cxn>
                <a:cxn ang="0">
                  <a:pos x="174" y="168"/>
                </a:cxn>
                <a:cxn ang="0">
                  <a:pos x="186" y="186"/>
                </a:cxn>
                <a:cxn ang="0">
                  <a:pos x="216" y="216"/>
                </a:cxn>
                <a:cxn ang="0">
                  <a:pos x="222" y="258"/>
                </a:cxn>
                <a:cxn ang="0">
                  <a:pos x="222" y="276"/>
                </a:cxn>
                <a:cxn ang="0">
                  <a:pos x="300" y="324"/>
                </a:cxn>
                <a:cxn ang="0">
                  <a:pos x="336" y="342"/>
                </a:cxn>
                <a:cxn ang="0">
                  <a:pos x="402" y="360"/>
                </a:cxn>
                <a:cxn ang="0">
                  <a:pos x="420" y="354"/>
                </a:cxn>
                <a:cxn ang="0">
                  <a:pos x="438" y="354"/>
                </a:cxn>
                <a:cxn ang="0">
                  <a:pos x="468" y="379"/>
                </a:cxn>
                <a:cxn ang="0">
                  <a:pos x="474" y="366"/>
                </a:cxn>
                <a:cxn ang="0">
                  <a:pos x="486" y="348"/>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2" name="Freeform 425"/>
            <p:cNvSpPr>
              <a:spLocks/>
            </p:cNvSpPr>
            <p:nvPr/>
          </p:nvSpPr>
          <p:spPr bwMode="auto">
            <a:xfrm rot="20747712">
              <a:off x="2717800" y="1437952"/>
              <a:ext cx="812800" cy="896938"/>
            </a:xfrm>
            <a:custGeom>
              <a:avLst/>
              <a:gdLst/>
              <a:ahLst/>
              <a:cxnLst>
                <a:cxn ang="0">
                  <a:pos x="764" y="46"/>
                </a:cxn>
                <a:cxn ang="0">
                  <a:pos x="700" y="13"/>
                </a:cxn>
                <a:cxn ang="0">
                  <a:pos x="651" y="2"/>
                </a:cxn>
                <a:cxn ang="0">
                  <a:pos x="496" y="52"/>
                </a:cxn>
                <a:cxn ang="0">
                  <a:pos x="452" y="110"/>
                </a:cxn>
                <a:cxn ang="0">
                  <a:pos x="334" y="112"/>
                </a:cxn>
                <a:cxn ang="0">
                  <a:pos x="241" y="182"/>
                </a:cxn>
                <a:cxn ang="0">
                  <a:pos x="160" y="289"/>
                </a:cxn>
                <a:cxn ang="0">
                  <a:pos x="44" y="319"/>
                </a:cxn>
                <a:cxn ang="0">
                  <a:pos x="17" y="402"/>
                </a:cxn>
                <a:cxn ang="0">
                  <a:pos x="2" y="482"/>
                </a:cxn>
                <a:cxn ang="0">
                  <a:pos x="59" y="568"/>
                </a:cxn>
                <a:cxn ang="0">
                  <a:pos x="169" y="621"/>
                </a:cxn>
                <a:cxn ang="0">
                  <a:pos x="203" y="785"/>
                </a:cxn>
                <a:cxn ang="0">
                  <a:pos x="181" y="986"/>
                </a:cxn>
                <a:cxn ang="0">
                  <a:pos x="218" y="1042"/>
                </a:cxn>
                <a:cxn ang="0">
                  <a:pos x="183" y="1075"/>
                </a:cxn>
                <a:cxn ang="0">
                  <a:pos x="206" y="1111"/>
                </a:cxn>
                <a:cxn ang="0">
                  <a:pos x="154" y="1135"/>
                </a:cxn>
                <a:cxn ang="0">
                  <a:pos x="219" y="1201"/>
                </a:cxn>
                <a:cxn ang="0">
                  <a:pos x="258" y="1158"/>
                </a:cxn>
                <a:cxn ang="0">
                  <a:pos x="252" y="1261"/>
                </a:cxn>
                <a:cxn ang="0">
                  <a:pos x="184" y="1302"/>
                </a:cxn>
                <a:cxn ang="0">
                  <a:pos x="142" y="1483"/>
                </a:cxn>
                <a:cxn ang="0">
                  <a:pos x="180" y="1606"/>
                </a:cxn>
                <a:cxn ang="0">
                  <a:pos x="200" y="1754"/>
                </a:cxn>
                <a:cxn ang="0">
                  <a:pos x="270" y="1897"/>
                </a:cxn>
                <a:cxn ang="0">
                  <a:pos x="370" y="1959"/>
                </a:cxn>
                <a:cxn ang="0">
                  <a:pos x="401" y="2022"/>
                </a:cxn>
                <a:cxn ang="0">
                  <a:pos x="460" y="2047"/>
                </a:cxn>
                <a:cxn ang="0">
                  <a:pos x="512" y="1998"/>
                </a:cxn>
                <a:cxn ang="0">
                  <a:pos x="539" y="1891"/>
                </a:cxn>
                <a:cxn ang="0">
                  <a:pos x="570" y="1779"/>
                </a:cxn>
                <a:cxn ang="0">
                  <a:pos x="622" y="1629"/>
                </a:cxn>
                <a:cxn ang="0">
                  <a:pos x="718" y="1524"/>
                </a:cxn>
                <a:cxn ang="0">
                  <a:pos x="831" y="1436"/>
                </a:cxn>
                <a:cxn ang="0">
                  <a:pos x="893" y="1316"/>
                </a:cxn>
                <a:cxn ang="0">
                  <a:pos x="974" y="1265"/>
                </a:cxn>
                <a:cxn ang="0">
                  <a:pos x="1092" y="1158"/>
                </a:cxn>
                <a:cxn ang="0">
                  <a:pos x="1088" y="1080"/>
                </a:cxn>
                <a:cxn ang="0">
                  <a:pos x="983" y="1102"/>
                </a:cxn>
                <a:cxn ang="0">
                  <a:pos x="958" y="1038"/>
                </a:cxn>
                <a:cxn ang="0">
                  <a:pos x="1058" y="1028"/>
                </a:cxn>
                <a:cxn ang="0">
                  <a:pos x="1123" y="1019"/>
                </a:cxn>
                <a:cxn ang="0">
                  <a:pos x="1085" y="937"/>
                </a:cxn>
                <a:cxn ang="0">
                  <a:pos x="1003" y="908"/>
                </a:cxn>
                <a:cxn ang="0">
                  <a:pos x="1042" y="896"/>
                </a:cxn>
                <a:cxn ang="0">
                  <a:pos x="1021" y="838"/>
                </a:cxn>
                <a:cxn ang="0">
                  <a:pos x="1043" y="801"/>
                </a:cxn>
                <a:cxn ang="0">
                  <a:pos x="1062" y="725"/>
                </a:cxn>
                <a:cxn ang="0">
                  <a:pos x="1064" y="663"/>
                </a:cxn>
                <a:cxn ang="0">
                  <a:pos x="1052" y="610"/>
                </a:cxn>
                <a:cxn ang="0">
                  <a:pos x="974" y="535"/>
                </a:cxn>
                <a:cxn ang="0">
                  <a:pos x="1006" y="468"/>
                </a:cxn>
                <a:cxn ang="0">
                  <a:pos x="958" y="436"/>
                </a:cxn>
                <a:cxn ang="0">
                  <a:pos x="912" y="328"/>
                </a:cxn>
                <a:cxn ang="0">
                  <a:pos x="924" y="146"/>
                </a:cxn>
                <a:cxn ang="0">
                  <a:pos x="917" y="60"/>
                </a:cxn>
                <a:cxn ang="0">
                  <a:pos x="863" y="84"/>
                </a:cxn>
                <a:cxn ang="0">
                  <a:pos x="821" y="143"/>
                </a:cxn>
                <a:cxn ang="0">
                  <a:pos x="795" y="110"/>
                </a:cxn>
                <a:cxn ang="0">
                  <a:pos x="750" y="151"/>
                </a:cxn>
                <a:cxn ang="0">
                  <a:pos x="718" y="10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3" name="Freeform 426"/>
            <p:cNvSpPr>
              <a:spLocks/>
            </p:cNvSpPr>
            <p:nvPr/>
          </p:nvSpPr>
          <p:spPr bwMode="auto">
            <a:xfrm>
              <a:off x="1751013" y="1679252"/>
              <a:ext cx="41275" cy="36513"/>
            </a:xfrm>
            <a:custGeom>
              <a:avLst/>
              <a:gdLst/>
              <a:ahLst/>
              <a:cxnLst>
                <a:cxn ang="0">
                  <a:pos x="39" y="19"/>
                </a:cxn>
                <a:cxn ang="0">
                  <a:pos x="38" y="21"/>
                </a:cxn>
                <a:cxn ang="0">
                  <a:pos x="35" y="25"/>
                </a:cxn>
                <a:cxn ang="0">
                  <a:pos x="31" y="29"/>
                </a:cxn>
                <a:cxn ang="0">
                  <a:pos x="27" y="33"/>
                </a:cxn>
                <a:cxn ang="0">
                  <a:pos x="23" y="35"/>
                </a:cxn>
                <a:cxn ang="0">
                  <a:pos x="18" y="36"/>
                </a:cxn>
                <a:cxn ang="0">
                  <a:pos x="13" y="36"/>
                </a:cxn>
                <a:cxn ang="0">
                  <a:pos x="12" y="36"/>
                </a:cxn>
                <a:cxn ang="0">
                  <a:pos x="11" y="35"/>
                </a:cxn>
                <a:cxn ang="0">
                  <a:pos x="10" y="33"/>
                </a:cxn>
                <a:cxn ang="0">
                  <a:pos x="8" y="31"/>
                </a:cxn>
                <a:cxn ang="0">
                  <a:pos x="4" y="27"/>
                </a:cxn>
                <a:cxn ang="0">
                  <a:pos x="1" y="24"/>
                </a:cxn>
                <a:cxn ang="0">
                  <a:pos x="0" y="19"/>
                </a:cxn>
                <a:cxn ang="0">
                  <a:pos x="1" y="16"/>
                </a:cxn>
                <a:cxn ang="0">
                  <a:pos x="7" y="11"/>
                </a:cxn>
                <a:cxn ang="0">
                  <a:pos x="12" y="6"/>
                </a:cxn>
                <a:cxn ang="0">
                  <a:pos x="16" y="2"/>
                </a:cxn>
                <a:cxn ang="0">
                  <a:pos x="19" y="0"/>
                </a:cxn>
                <a:cxn ang="0">
                  <a:pos x="24" y="1"/>
                </a:cxn>
                <a:cxn ang="0">
                  <a:pos x="31" y="3"/>
                </a:cxn>
                <a:cxn ang="0">
                  <a:pos x="37" y="6"/>
                </a:cxn>
                <a:cxn ang="0">
                  <a:pos x="40" y="11"/>
                </a:cxn>
                <a:cxn ang="0">
                  <a:pos x="39" y="1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4" name="Freeform 427"/>
            <p:cNvSpPr>
              <a:spLocks/>
            </p:cNvSpPr>
            <p:nvPr/>
          </p:nvSpPr>
          <p:spPr bwMode="auto">
            <a:xfrm>
              <a:off x="2103438" y="1974527"/>
              <a:ext cx="0" cy="4763"/>
            </a:xfrm>
            <a:custGeom>
              <a:avLst/>
              <a:gdLst/>
              <a:ahLst/>
              <a:cxnLst>
                <a:cxn ang="0">
                  <a:pos x="1" y="2"/>
                </a:cxn>
                <a:cxn ang="0">
                  <a:pos x="1" y="1"/>
                </a:cxn>
                <a:cxn ang="0">
                  <a:pos x="1" y="1"/>
                </a:cxn>
                <a:cxn ang="0">
                  <a:pos x="0" y="0"/>
                </a:cxn>
                <a:cxn ang="0">
                  <a:pos x="0" y="0"/>
                </a:cxn>
                <a:cxn ang="0">
                  <a:pos x="1" y="2"/>
                </a:cxn>
                <a:cxn ang="0">
                  <a:pos x="1" y="4"/>
                </a:cxn>
                <a:cxn ang="0">
                  <a:pos x="1" y="4"/>
                </a:cxn>
                <a:cxn ang="0">
                  <a:pos x="1" y="2"/>
                </a:cxn>
              </a:cxnLst>
              <a:rect l="0" t="0" r="r" b="b"/>
              <a:pathLst>
                <a:path w="1" h="4">
                  <a:moveTo>
                    <a:pt x="1" y="2"/>
                  </a:moveTo>
                  <a:lnTo>
                    <a:pt x="1" y="1"/>
                  </a:lnTo>
                  <a:lnTo>
                    <a:pt x="1" y="1"/>
                  </a:lnTo>
                  <a:lnTo>
                    <a:pt x="0" y="0"/>
                  </a:lnTo>
                  <a:lnTo>
                    <a:pt x="0" y="0"/>
                  </a:lnTo>
                  <a:lnTo>
                    <a:pt x="1" y="2"/>
                  </a:lnTo>
                  <a:lnTo>
                    <a:pt x="1" y="4"/>
                  </a:lnTo>
                  <a:lnTo>
                    <a:pt x="1" y="4"/>
                  </a:lnTo>
                  <a:lnTo>
                    <a:pt x="1" y="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5" name="Freeform 428"/>
            <p:cNvSpPr>
              <a:spLocks/>
            </p:cNvSpPr>
            <p:nvPr/>
          </p:nvSpPr>
          <p:spPr bwMode="auto">
            <a:xfrm>
              <a:off x="2460625" y="2007865"/>
              <a:ext cx="3175" cy="6350"/>
            </a:xfrm>
            <a:custGeom>
              <a:avLst/>
              <a:gdLst/>
              <a:ahLst/>
              <a:cxnLst>
                <a:cxn ang="0">
                  <a:pos x="5" y="8"/>
                </a:cxn>
                <a:cxn ang="0">
                  <a:pos x="5" y="6"/>
                </a:cxn>
                <a:cxn ang="0">
                  <a:pos x="5" y="5"/>
                </a:cxn>
                <a:cxn ang="0">
                  <a:pos x="5" y="2"/>
                </a:cxn>
                <a:cxn ang="0">
                  <a:pos x="3" y="0"/>
                </a:cxn>
                <a:cxn ang="0">
                  <a:pos x="0" y="0"/>
                </a:cxn>
                <a:cxn ang="0">
                  <a:pos x="0" y="1"/>
                </a:cxn>
                <a:cxn ang="0">
                  <a:pos x="2" y="5"/>
                </a:cxn>
                <a:cxn ang="0">
                  <a:pos x="5" y="8"/>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6" name="Freeform 429"/>
            <p:cNvSpPr>
              <a:spLocks/>
            </p:cNvSpPr>
            <p:nvPr/>
          </p:nvSpPr>
          <p:spPr bwMode="auto">
            <a:xfrm>
              <a:off x="2109788" y="1590352"/>
              <a:ext cx="14287" cy="14288"/>
            </a:xfrm>
            <a:custGeom>
              <a:avLst/>
              <a:gdLst/>
              <a:ahLst/>
              <a:cxnLst>
                <a:cxn ang="0">
                  <a:pos x="2" y="7"/>
                </a:cxn>
                <a:cxn ang="0">
                  <a:pos x="9" y="13"/>
                </a:cxn>
                <a:cxn ang="0">
                  <a:pos x="14" y="15"/>
                </a:cxn>
                <a:cxn ang="0">
                  <a:pos x="14" y="14"/>
                </a:cxn>
                <a:cxn ang="0">
                  <a:pos x="10" y="7"/>
                </a:cxn>
                <a:cxn ang="0">
                  <a:pos x="9" y="5"/>
                </a:cxn>
                <a:cxn ang="0">
                  <a:pos x="9" y="3"/>
                </a:cxn>
                <a:cxn ang="0">
                  <a:pos x="8" y="1"/>
                </a:cxn>
                <a:cxn ang="0">
                  <a:pos x="7" y="0"/>
                </a:cxn>
                <a:cxn ang="0">
                  <a:pos x="6" y="1"/>
                </a:cxn>
                <a:cxn ang="0">
                  <a:pos x="3" y="2"/>
                </a:cxn>
                <a:cxn ang="0">
                  <a:pos x="2" y="3"/>
                </a:cxn>
                <a:cxn ang="0">
                  <a:pos x="0" y="5"/>
                </a:cxn>
                <a:cxn ang="0">
                  <a:pos x="1" y="6"/>
                </a:cxn>
                <a:cxn ang="0">
                  <a:pos x="1" y="6"/>
                </a:cxn>
                <a:cxn ang="0">
                  <a:pos x="1" y="6"/>
                </a:cxn>
                <a:cxn ang="0">
                  <a:pos x="2" y="7"/>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1" y="6"/>
                  </a:lnTo>
                  <a:lnTo>
                    <a:pt x="1" y="6"/>
                  </a:lnTo>
                  <a:lnTo>
                    <a:pt x="2" y="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7" name="Freeform 430"/>
            <p:cNvSpPr>
              <a:spLocks/>
            </p:cNvSpPr>
            <p:nvPr/>
          </p:nvSpPr>
          <p:spPr bwMode="auto">
            <a:xfrm>
              <a:off x="2297113" y="2058665"/>
              <a:ext cx="144462" cy="120650"/>
            </a:xfrm>
            <a:custGeom>
              <a:avLst/>
              <a:gdLst/>
              <a:ahLst/>
              <a:cxnLst>
                <a:cxn ang="0">
                  <a:pos x="124" y="60"/>
                </a:cxn>
                <a:cxn ang="0">
                  <a:pos x="135" y="67"/>
                </a:cxn>
                <a:cxn ang="0">
                  <a:pos x="129" y="76"/>
                </a:cxn>
                <a:cxn ang="0">
                  <a:pos x="124" y="81"/>
                </a:cxn>
                <a:cxn ang="0">
                  <a:pos x="118" y="83"/>
                </a:cxn>
                <a:cxn ang="0">
                  <a:pos x="114" y="82"/>
                </a:cxn>
                <a:cxn ang="0">
                  <a:pos x="101" y="77"/>
                </a:cxn>
                <a:cxn ang="0">
                  <a:pos x="91" y="74"/>
                </a:cxn>
                <a:cxn ang="0">
                  <a:pos x="82" y="68"/>
                </a:cxn>
                <a:cxn ang="0">
                  <a:pos x="72" y="66"/>
                </a:cxn>
                <a:cxn ang="0">
                  <a:pos x="71" y="78"/>
                </a:cxn>
                <a:cxn ang="0">
                  <a:pos x="72" y="92"/>
                </a:cxn>
                <a:cxn ang="0">
                  <a:pos x="61" y="99"/>
                </a:cxn>
                <a:cxn ang="0">
                  <a:pos x="57" y="107"/>
                </a:cxn>
                <a:cxn ang="0">
                  <a:pos x="53" y="114"/>
                </a:cxn>
                <a:cxn ang="0">
                  <a:pos x="44" y="119"/>
                </a:cxn>
                <a:cxn ang="0">
                  <a:pos x="39" y="111"/>
                </a:cxn>
                <a:cxn ang="0">
                  <a:pos x="34" y="100"/>
                </a:cxn>
                <a:cxn ang="0">
                  <a:pos x="23" y="99"/>
                </a:cxn>
                <a:cxn ang="0">
                  <a:pos x="17" y="101"/>
                </a:cxn>
                <a:cxn ang="0">
                  <a:pos x="3" y="105"/>
                </a:cxn>
                <a:cxn ang="0">
                  <a:pos x="1" y="97"/>
                </a:cxn>
                <a:cxn ang="0">
                  <a:pos x="9" y="84"/>
                </a:cxn>
                <a:cxn ang="0">
                  <a:pos x="16" y="79"/>
                </a:cxn>
                <a:cxn ang="0">
                  <a:pos x="14" y="68"/>
                </a:cxn>
                <a:cxn ang="0">
                  <a:pos x="11" y="55"/>
                </a:cxn>
                <a:cxn ang="0">
                  <a:pos x="12" y="44"/>
                </a:cxn>
                <a:cxn ang="0">
                  <a:pos x="8" y="35"/>
                </a:cxn>
                <a:cxn ang="0">
                  <a:pos x="8" y="16"/>
                </a:cxn>
                <a:cxn ang="0">
                  <a:pos x="9" y="2"/>
                </a:cxn>
                <a:cxn ang="0">
                  <a:pos x="18" y="1"/>
                </a:cxn>
                <a:cxn ang="0">
                  <a:pos x="27" y="9"/>
                </a:cxn>
                <a:cxn ang="0">
                  <a:pos x="32" y="26"/>
                </a:cxn>
                <a:cxn ang="0">
                  <a:pos x="37" y="30"/>
                </a:cxn>
                <a:cxn ang="0">
                  <a:pos x="44" y="25"/>
                </a:cxn>
                <a:cxn ang="0">
                  <a:pos x="54" y="23"/>
                </a:cxn>
                <a:cxn ang="0">
                  <a:pos x="70" y="26"/>
                </a:cxn>
                <a:cxn ang="0">
                  <a:pos x="85" y="33"/>
                </a:cxn>
                <a:cxn ang="0">
                  <a:pos x="93" y="48"/>
                </a:cxn>
                <a:cxn ang="0">
                  <a:pos x="100" y="58"/>
                </a:cxn>
                <a:cxn ang="0">
                  <a:pos x="122" y="59"/>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8" name="Freeform 431"/>
            <p:cNvSpPr>
              <a:spLocks/>
            </p:cNvSpPr>
            <p:nvPr/>
          </p:nvSpPr>
          <p:spPr bwMode="auto">
            <a:xfrm>
              <a:off x="2181225" y="1696715"/>
              <a:ext cx="598488" cy="400050"/>
            </a:xfrm>
            <a:custGeom>
              <a:avLst/>
              <a:gdLst/>
              <a:ahLst/>
              <a:cxnLst>
                <a:cxn ang="0">
                  <a:pos x="527" y="388"/>
                </a:cxn>
                <a:cxn ang="0">
                  <a:pos x="501" y="390"/>
                </a:cxn>
                <a:cxn ang="0">
                  <a:pos x="468" y="395"/>
                </a:cxn>
                <a:cxn ang="0">
                  <a:pos x="440" y="394"/>
                </a:cxn>
                <a:cxn ang="0">
                  <a:pos x="414" y="386"/>
                </a:cxn>
                <a:cxn ang="0">
                  <a:pos x="376" y="366"/>
                </a:cxn>
                <a:cxn ang="0">
                  <a:pos x="354" y="352"/>
                </a:cxn>
                <a:cxn ang="0">
                  <a:pos x="309" y="365"/>
                </a:cxn>
                <a:cxn ang="0">
                  <a:pos x="271" y="373"/>
                </a:cxn>
                <a:cxn ang="0">
                  <a:pos x="260" y="350"/>
                </a:cxn>
                <a:cxn ang="0">
                  <a:pos x="293" y="337"/>
                </a:cxn>
                <a:cxn ang="0">
                  <a:pos x="330" y="307"/>
                </a:cxn>
                <a:cxn ang="0">
                  <a:pos x="320" y="258"/>
                </a:cxn>
                <a:cxn ang="0">
                  <a:pos x="289" y="193"/>
                </a:cxn>
                <a:cxn ang="0">
                  <a:pos x="244" y="169"/>
                </a:cxn>
                <a:cxn ang="0">
                  <a:pos x="202" y="145"/>
                </a:cxn>
                <a:cxn ang="0">
                  <a:pos x="185" y="146"/>
                </a:cxn>
                <a:cxn ang="0">
                  <a:pos x="154" y="156"/>
                </a:cxn>
                <a:cxn ang="0">
                  <a:pos x="124" y="166"/>
                </a:cxn>
                <a:cxn ang="0">
                  <a:pos x="95" y="170"/>
                </a:cxn>
                <a:cxn ang="0">
                  <a:pos x="51" y="166"/>
                </a:cxn>
                <a:cxn ang="0">
                  <a:pos x="18" y="153"/>
                </a:cxn>
                <a:cxn ang="0">
                  <a:pos x="23" y="138"/>
                </a:cxn>
                <a:cxn ang="0">
                  <a:pos x="42" y="130"/>
                </a:cxn>
                <a:cxn ang="0">
                  <a:pos x="4" y="118"/>
                </a:cxn>
                <a:cxn ang="0">
                  <a:pos x="0" y="76"/>
                </a:cxn>
                <a:cxn ang="0">
                  <a:pos x="39" y="3"/>
                </a:cxn>
                <a:cxn ang="0">
                  <a:pos x="45" y="70"/>
                </a:cxn>
                <a:cxn ang="0">
                  <a:pos x="70" y="107"/>
                </a:cxn>
                <a:cxn ang="0">
                  <a:pos x="69" y="3"/>
                </a:cxn>
                <a:cxn ang="0">
                  <a:pos x="111" y="26"/>
                </a:cxn>
                <a:cxn ang="0">
                  <a:pos x="132" y="52"/>
                </a:cxn>
                <a:cxn ang="0">
                  <a:pos x="164" y="23"/>
                </a:cxn>
                <a:cxn ang="0">
                  <a:pos x="206" y="44"/>
                </a:cxn>
                <a:cxn ang="0">
                  <a:pos x="237" y="49"/>
                </a:cxn>
                <a:cxn ang="0">
                  <a:pos x="271" y="59"/>
                </a:cxn>
                <a:cxn ang="0">
                  <a:pos x="318" y="63"/>
                </a:cxn>
                <a:cxn ang="0">
                  <a:pos x="329" y="72"/>
                </a:cxn>
                <a:cxn ang="0">
                  <a:pos x="350" y="87"/>
                </a:cxn>
                <a:cxn ang="0">
                  <a:pos x="361" y="102"/>
                </a:cxn>
                <a:cxn ang="0">
                  <a:pos x="350" y="118"/>
                </a:cxn>
                <a:cxn ang="0">
                  <a:pos x="377" y="133"/>
                </a:cxn>
                <a:cxn ang="0">
                  <a:pos x="406" y="144"/>
                </a:cxn>
                <a:cxn ang="0">
                  <a:pos x="429" y="143"/>
                </a:cxn>
                <a:cxn ang="0">
                  <a:pos x="450" y="152"/>
                </a:cxn>
                <a:cxn ang="0">
                  <a:pos x="472" y="152"/>
                </a:cxn>
                <a:cxn ang="0">
                  <a:pos x="508" y="169"/>
                </a:cxn>
                <a:cxn ang="0">
                  <a:pos x="510" y="191"/>
                </a:cxn>
                <a:cxn ang="0">
                  <a:pos x="497" y="212"/>
                </a:cxn>
                <a:cxn ang="0">
                  <a:pos x="514" y="239"/>
                </a:cxn>
                <a:cxn ang="0">
                  <a:pos x="487" y="242"/>
                </a:cxn>
                <a:cxn ang="0">
                  <a:pos x="456" y="226"/>
                </a:cxn>
                <a:cxn ang="0">
                  <a:pos x="421" y="230"/>
                </a:cxn>
                <a:cxn ang="0">
                  <a:pos x="449" y="262"/>
                </a:cxn>
                <a:cxn ang="0">
                  <a:pos x="487" y="275"/>
                </a:cxn>
                <a:cxn ang="0">
                  <a:pos x="528" y="294"/>
                </a:cxn>
                <a:cxn ang="0">
                  <a:pos x="541" y="332"/>
                </a:cxn>
                <a:cxn ang="0">
                  <a:pos x="555" y="357"/>
                </a:cxn>
                <a:cxn ang="0">
                  <a:pos x="513" y="348"/>
                </a:cxn>
                <a:cxn ang="0">
                  <a:pos x="478" y="340"/>
                </a:cxn>
                <a:cxn ang="0">
                  <a:pos x="451" y="340"/>
                </a:cxn>
                <a:cxn ang="0">
                  <a:pos x="496" y="358"/>
                </a:cxn>
                <a:cxn ang="0">
                  <a:pos x="517" y="367"/>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69" name="Freeform 432"/>
            <p:cNvSpPr>
              <a:spLocks/>
            </p:cNvSpPr>
            <p:nvPr/>
          </p:nvSpPr>
          <p:spPr bwMode="auto">
            <a:xfrm>
              <a:off x="1663700" y="1630040"/>
              <a:ext cx="158750" cy="146050"/>
            </a:xfrm>
            <a:custGeom>
              <a:avLst/>
              <a:gdLst/>
              <a:ahLst/>
              <a:cxnLst>
                <a:cxn ang="0">
                  <a:pos x="146" y="67"/>
                </a:cxn>
                <a:cxn ang="0">
                  <a:pos x="141" y="44"/>
                </a:cxn>
                <a:cxn ang="0">
                  <a:pos x="129" y="33"/>
                </a:cxn>
                <a:cxn ang="0">
                  <a:pos x="120" y="35"/>
                </a:cxn>
                <a:cxn ang="0">
                  <a:pos x="111" y="26"/>
                </a:cxn>
                <a:cxn ang="0">
                  <a:pos x="104" y="14"/>
                </a:cxn>
                <a:cxn ang="0">
                  <a:pos x="88" y="10"/>
                </a:cxn>
                <a:cxn ang="0">
                  <a:pos x="77" y="7"/>
                </a:cxn>
                <a:cxn ang="0">
                  <a:pos x="68" y="1"/>
                </a:cxn>
                <a:cxn ang="0">
                  <a:pos x="62" y="0"/>
                </a:cxn>
                <a:cxn ang="0">
                  <a:pos x="58" y="8"/>
                </a:cxn>
                <a:cxn ang="0">
                  <a:pos x="57" y="20"/>
                </a:cxn>
                <a:cxn ang="0">
                  <a:pos x="50" y="31"/>
                </a:cxn>
                <a:cxn ang="0">
                  <a:pos x="32" y="50"/>
                </a:cxn>
                <a:cxn ang="0">
                  <a:pos x="20" y="62"/>
                </a:cxn>
                <a:cxn ang="0">
                  <a:pos x="3" y="82"/>
                </a:cxn>
                <a:cxn ang="0">
                  <a:pos x="3" y="91"/>
                </a:cxn>
                <a:cxn ang="0">
                  <a:pos x="6" y="94"/>
                </a:cxn>
                <a:cxn ang="0">
                  <a:pos x="14" y="123"/>
                </a:cxn>
                <a:cxn ang="0">
                  <a:pos x="15" y="144"/>
                </a:cxn>
                <a:cxn ang="0">
                  <a:pos x="27" y="143"/>
                </a:cxn>
                <a:cxn ang="0">
                  <a:pos x="36" y="137"/>
                </a:cxn>
                <a:cxn ang="0">
                  <a:pos x="44" y="143"/>
                </a:cxn>
                <a:cxn ang="0">
                  <a:pos x="55" y="145"/>
                </a:cxn>
                <a:cxn ang="0">
                  <a:pos x="66" y="124"/>
                </a:cxn>
                <a:cxn ang="0">
                  <a:pos x="83" y="116"/>
                </a:cxn>
                <a:cxn ang="0">
                  <a:pos x="87" y="104"/>
                </a:cxn>
                <a:cxn ang="0">
                  <a:pos x="91" y="96"/>
                </a:cxn>
                <a:cxn ang="0">
                  <a:pos x="112" y="90"/>
                </a:cxn>
                <a:cxn ang="0">
                  <a:pos x="128" y="86"/>
                </a:cxn>
                <a:cxn ang="0">
                  <a:pos x="140" y="82"/>
                </a:cxn>
                <a:cxn ang="0">
                  <a:pos x="146" y="75"/>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0" name="Freeform 433"/>
            <p:cNvSpPr>
              <a:spLocks/>
            </p:cNvSpPr>
            <p:nvPr/>
          </p:nvSpPr>
          <p:spPr bwMode="auto">
            <a:xfrm>
              <a:off x="1831975" y="1576065"/>
              <a:ext cx="144463" cy="93662"/>
            </a:xfrm>
            <a:custGeom>
              <a:avLst/>
              <a:gdLst/>
              <a:ahLst/>
              <a:cxnLst>
                <a:cxn ang="0">
                  <a:pos x="104" y="4"/>
                </a:cxn>
                <a:cxn ang="0">
                  <a:pos x="103" y="23"/>
                </a:cxn>
                <a:cxn ang="0">
                  <a:pos x="101" y="35"/>
                </a:cxn>
                <a:cxn ang="0">
                  <a:pos x="102" y="44"/>
                </a:cxn>
                <a:cxn ang="0">
                  <a:pos x="111" y="43"/>
                </a:cxn>
                <a:cxn ang="0">
                  <a:pos x="115" y="34"/>
                </a:cxn>
                <a:cxn ang="0">
                  <a:pos x="128" y="42"/>
                </a:cxn>
                <a:cxn ang="0">
                  <a:pos x="133" y="49"/>
                </a:cxn>
                <a:cxn ang="0">
                  <a:pos x="132" y="60"/>
                </a:cxn>
                <a:cxn ang="0">
                  <a:pos x="131" y="66"/>
                </a:cxn>
                <a:cxn ang="0">
                  <a:pos x="123" y="78"/>
                </a:cxn>
                <a:cxn ang="0">
                  <a:pos x="116" y="84"/>
                </a:cxn>
                <a:cxn ang="0">
                  <a:pos x="96" y="81"/>
                </a:cxn>
                <a:cxn ang="0">
                  <a:pos x="83" y="77"/>
                </a:cxn>
                <a:cxn ang="0">
                  <a:pos x="76" y="83"/>
                </a:cxn>
                <a:cxn ang="0">
                  <a:pos x="68" y="88"/>
                </a:cxn>
                <a:cxn ang="0">
                  <a:pos x="54" y="91"/>
                </a:cxn>
                <a:cxn ang="0">
                  <a:pos x="45" y="91"/>
                </a:cxn>
                <a:cxn ang="0">
                  <a:pos x="32" y="89"/>
                </a:cxn>
                <a:cxn ang="0">
                  <a:pos x="18" y="82"/>
                </a:cxn>
                <a:cxn ang="0">
                  <a:pos x="25" y="77"/>
                </a:cxn>
                <a:cxn ang="0">
                  <a:pos x="38" y="77"/>
                </a:cxn>
                <a:cxn ang="0">
                  <a:pos x="48" y="70"/>
                </a:cxn>
                <a:cxn ang="0">
                  <a:pos x="48" y="60"/>
                </a:cxn>
                <a:cxn ang="0">
                  <a:pos x="35" y="65"/>
                </a:cxn>
                <a:cxn ang="0">
                  <a:pos x="27" y="67"/>
                </a:cxn>
                <a:cxn ang="0">
                  <a:pos x="14" y="57"/>
                </a:cxn>
                <a:cxn ang="0">
                  <a:pos x="4" y="51"/>
                </a:cxn>
                <a:cxn ang="0">
                  <a:pos x="0" y="42"/>
                </a:cxn>
                <a:cxn ang="0">
                  <a:pos x="2" y="35"/>
                </a:cxn>
                <a:cxn ang="0">
                  <a:pos x="12" y="25"/>
                </a:cxn>
                <a:cxn ang="0">
                  <a:pos x="15" y="20"/>
                </a:cxn>
                <a:cxn ang="0">
                  <a:pos x="23" y="7"/>
                </a:cxn>
                <a:cxn ang="0">
                  <a:pos x="28" y="1"/>
                </a:cxn>
                <a:cxn ang="0">
                  <a:pos x="41" y="0"/>
                </a:cxn>
                <a:cxn ang="0">
                  <a:pos x="46" y="5"/>
                </a:cxn>
                <a:cxn ang="0">
                  <a:pos x="46" y="13"/>
                </a:cxn>
                <a:cxn ang="0">
                  <a:pos x="55" y="19"/>
                </a:cxn>
                <a:cxn ang="0">
                  <a:pos x="56" y="28"/>
                </a:cxn>
                <a:cxn ang="0">
                  <a:pos x="65" y="35"/>
                </a:cxn>
                <a:cxn ang="0">
                  <a:pos x="68" y="44"/>
                </a:cxn>
                <a:cxn ang="0">
                  <a:pos x="70" y="50"/>
                </a:cxn>
                <a:cxn ang="0">
                  <a:pos x="80" y="55"/>
                </a:cxn>
                <a:cxn ang="0">
                  <a:pos x="90" y="59"/>
                </a:cxn>
                <a:cxn ang="0">
                  <a:pos x="91" y="47"/>
                </a:cxn>
                <a:cxn ang="0">
                  <a:pos x="91" y="37"/>
                </a:cxn>
                <a:cxn ang="0">
                  <a:pos x="88" y="30"/>
                </a:cxn>
                <a:cxn ang="0">
                  <a:pos x="85" y="29"/>
                </a:cxn>
                <a:cxn ang="0">
                  <a:pos x="84" y="19"/>
                </a:cxn>
                <a:cxn ang="0">
                  <a:pos x="85" y="11"/>
                </a:cxn>
                <a:cxn ang="0">
                  <a:pos x="94" y="6"/>
                </a:cxn>
                <a:cxn ang="0">
                  <a:pos x="103" y="1"/>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1" name="Freeform 434"/>
            <p:cNvSpPr>
              <a:spLocks/>
            </p:cNvSpPr>
            <p:nvPr/>
          </p:nvSpPr>
          <p:spPr bwMode="auto">
            <a:xfrm>
              <a:off x="1771650" y="1526852"/>
              <a:ext cx="109538" cy="61913"/>
            </a:xfrm>
            <a:custGeom>
              <a:avLst/>
              <a:gdLst/>
              <a:ahLst/>
              <a:cxnLst>
                <a:cxn ang="0">
                  <a:pos x="76" y="40"/>
                </a:cxn>
                <a:cxn ang="0">
                  <a:pos x="75" y="41"/>
                </a:cxn>
                <a:cxn ang="0">
                  <a:pos x="72" y="45"/>
                </a:cxn>
                <a:cxn ang="0">
                  <a:pos x="68" y="46"/>
                </a:cxn>
                <a:cxn ang="0">
                  <a:pos x="66" y="42"/>
                </a:cxn>
                <a:cxn ang="0">
                  <a:pos x="64" y="35"/>
                </a:cxn>
                <a:cxn ang="0">
                  <a:pos x="61" y="30"/>
                </a:cxn>
                <a:cxn ang="0">
                  <a:pos x="58" y="27"/>
                </a:cxn>
                <a:cxn ang="0">
                  <a:pos x="56" y="31"/>
                </a:cxn>
                <a:cxn ang="0">
                  <a:pos x="55" y="38"/>
                </a:cxn>
                <a:cxn ang="0">
                  <a:pos x="55" y="44"/>
                </a:cxn>
                <a:cxn ang="0">
                  <a:pos x="53" y="47"/>
                </a:cxn>
                <a:cxn ang="0">
                  <a:pos x="48" y="47"/>
                </a:cxn>
                <a:cxn ang="0">
                  <a:pos x="42" y="47"/>
                </a:cxn>
                <a:cxn ang="0">
                  <a:pos x="38" y="52"/>
                </a:cxn>
                <a:cxn ang="0">
                  <a:pos x="38" y="57"/>
                </a:cxn>
                <a:cxn ang="0">
                  <a:pos x="38" y="60"/>
                </a:cxn>
                <a:cxn ang="0">
                  <a:pos x="37" y="57"/>
                </a:cxn>
                <a:cxn ang="0">
                  <a:pos x="33" y="54"/>
                </a:cxn>
                <a:cxn ang="0">
                  <a:pos x="27" y="50"/>
                </a:cxn>
                <a:cxn ang="0">
                  <a:pos x="22" y="48"/>
                </a:cxn>
                <a:cxn ang="0">
                  <a:pos x="15" y="48"/>
                </a:cxn>
                <a:cxn ang="0">
                  <a:pos x="6" y="48"/>
                </a:cxn>
                <a:cxn ang="0">
                  <a:pos x="0" y="46"/>
                </a:cxn>
                <a:cxn ang="0">
                  <a:pos x="4" y="40"/>
                </a:cxn>
                <a:cxn ang="0">
                  <a:pos x="11" y="34"/>
                </a:cxn>
                <a:cxn ang="0">
                  <a:pos x="17" y="30"/>
                </a:cxn>
                <a:cxn ang="0">
                  <a:pos x="23" y="25"/>
                </a:cxn>
                <a:cxn ang="0">
                  <a:pos x="35" y="19"/>
                </a:cxn>
                <a:cxn ang="0">
                  <a:pos x="46" y="12"/>
                </a:cxn>
                <a:cxn ang="0">
                  <a:pos x="55" y="7"/>
                </a:cxn>
                <a:cxn ang="0">
                  <a:pos x="60" y="2"/>
                </a:cxn>
                <a:cxn ang="0">
                  <a:pos x="68" y="0"/>
                </a:cxn>
                <a:cxn ang="0">
                  <a:pos x="76" y="0"/>
                </a:cxn>
                <a:cxn ang="0">
                  <a:pos x="80" y="0"/>
                </a:cxn>
                <a:cxn ang="0">
                  <a:pos x="83" y="0"/>
                </a:cxn>
                <a:cxn ang="0">
                  <a:pos x="87" y="0"/>
                </a:cxn>
                <a:cxn ang="0">
                  <a:pos x="93" y="0"/>
                </a:cxn>
                <a:cxn ang="0">
                  <a:pos x="98" y="2"/>
                </a:cxn>
                <a:cxn ang="0">
                  <a:pos x="102" y="6"/>
                </a:cxn>
                <a:cxn ang="0">
                  <a:pos x="99" y="10"/>
                </a:cxn>
                <a:cxn ang="0">
                  <a:pos x="95" y="15"/>
                </a:cxn>
                <a:cxn ang="0">
                  <a:pos x="93" y="17"/>
                </a:cxn>
                <a:cxn ang="0">
                  <a:pos x="93" y="19"/>
                </a:cxn>
                <a:cxn ang="0">
                  <a:pos x="91" y="24"/>
                </a:cxn>
                <a:cxn ang="0">
                  <a:pos x="89" y="31"/>
                </a:cxn>
                <a:cxn ang="0">
                  <a:pos x="86" y="35"/>
                </a:cxn>
                <a:cxn ang="0">
                  <a:pos x="81" y="39"/>
                </a:cxn>
                <a:cxn ang="0">
                  <a:pos x="76" y="40"/>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2" name="Freeform 435"/>
            <p:cNvSpPr>
              <a:spLocks/>
            </p:cNvSpPr>
            <p:nvPr/>
          </p:nvSpPr>
          <p:spPr bwMode="auto">
            <a:xfrm>
              <a:off x="1987550" y="1588765"/>
              <a:ext cx="92075" cy="80962"/>
            </a:xfrm>
            <a:custGeom>
              <a:avLst/>
              <a:gdLst/>
              <a:ahLst/>
              <a:cxnLst>
                <a:cxn ang="0">
                  <a:pos x="17" y="12"/>
                </a:cxn>
                <a:cxn ang="0">
                  <a:pos x="3" y="0"/>
                </a:cxn>
                <a:cxn ang="0">
                  <a:pos x="1" y="9"/>
                </a:cxn>
                <a:cxn ang="0">
                  <a:pos x="3" y="22"/>
                </a:cxn>
                <a:cxn ang="0">
                  <a:pos x="5" y="33"/>
                </a:cxn>
                <a:cxn ang="0">
                  <a:pos x="11" y="41"/>
                </a:cxn>
                <a:cxn ang="0">
                  <a:pos x="18" y="42"/>
                </a:cxn>
                <a:cxn ang="0">
                  <a:pos x="24" y="43"/>
                </a:cxn>
                <a:cxn ang="0">
                  <a:pos x="20" y="52"/>
                </a:cxn>
                <a:cxn ang="0">
                  <a:pos x="24" y="54"/>
                </a:cxn>
                <a:cxn ang="0">
                  <a:pos x="38" y="53"/>
                </a:cxn>
                <a:cxn ang="0">
                  <a:pos x="42" y="54"/>
                </a:cxn>
                <a:cxn ang="0">
                  <a:pos x="40" y="65"/>
                </a:cxn>
                <a:cxn ang="0">
                  <a:pos x="38" y="79"/>
                </a:cxn>
                <a:cxn ang="0">
                  <a:pos x="54" y="77"/>
                </a:cxn>
                <a:cxn ang="0">
                  <a:pos x="72" y="66"/>
                </a:cxn>
                <a:cxn ang="0">
                  <a:pos x="75" y="62"/>
                </a:cxn>
                <a:cxn ang="0">
                  <a:pos x="72" y="54"/>
                </a:cxn>
                <a:cxn ang="0">
                  <a:pos x="79" y="56"/>
                </a:cxn>
                <a:cxn ang="0">
                  <a:pos x="86" y="57"/>
                </a:cxn>
                <a:cxn ang="0">
                  <a:pos x="77" y="42"/>
                </a:cxn>
                <a:cxn ang="0">
                  <a:pos x="71" y="37"/>
                </a:cxn>
                <a:cxn ang="0">
                  <a:pos x="76" y="22"/>
                </a:cxn>
                <a:cxn ang="0">
                  <a:pos x="76" y="9"/>
                </a:cxn>
                <a:cxn ang="0">
                  <a:pos x="65" y="8"/>
                </a:cxn>
                <a:cxn ang="0">
                  <a:pos x="63" y="12"/>
                </a:cxn>
                <a:cxn ang="0">
                  <a:pos x="55" y="8"/>
                </a:cxn>
                <a:cxn ang="0">
                  <a:pos x="47" y="2"/>
                </a:cxn>
                <a:cxn ang="0">
                  <a:pos x="45" y="7"/>
                </a:cxn>
                <a:cxn ang="0">
                  <a:pos x="48" y="13"/>
                </a:cxn>
                <a:cxn ang="0">
                  <a:pos x="43" y="15"/>
                </a:cxn>
                <a:cxn ang="0">
                  <a:pos x="35" y="9"/>
                </a:cxn>
                <a:cxn ang="0">
                  <a:pos x="28" y="15"/>
                </a:cxn>
                <a:cxn ang="0">
                  <a:pos x="22" y="16"/>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3" name="Freeform 436"/>
            <p:cNvSpPr>
              <a:spLocks/>
            </p:cNvSpPr>
            <p:nvPr/>
          </p:nvSpPr>
          <p:spPr bwMode="auto">
            <a:xfrm>
              <a:off x="2081213" y="1637977"/>
              <a:ext cx="36512" cy="46038"/>
            </a:xfrm>
            <a:custGeom>
              <a:avLst/>
              <a:gdLst/>
              <a:ahLst/>
              <a:cxnLst>
                <a:cxn ang="0">
                  <a:pos x="14" y="4"/>
                </a:cxn>
                <a:cxn ang="0">
                  <a:pos x="14" y="5"/>
                </a:cxn>
                <a:cxn ang="0">
                  <a:pos x="13" y="7"/>
                </a:cxn>
                <a:cxn ang="0">
                  <a:pos x="11" y="12"/>
                </a:cxn>
                <a:cxn ang="0">
                  <a:pos x="7" y="15"/>
                </a:cxn>
                <a:cxn ang="0">
                  <a:pos x="4" y="18"/>
                </a:cxn>
                <a:cxn ang="0">
                  <a:pos x="1" y="23"/>
                </a:cxn>
                <a:cxn ang="0">
                  <a:pos x="0" y="28"/>
                </a:cxn>
                <a:cxn ang="0">
                  <a:pos x="3" y="31"/>
                </a:cxn>
                <a:cxn ang="0">
                  <a:pos x="7" y="35"/>
                </a:cxn>
                <a:cxn ang="0">
                  <a:pos x="12" y="37"/>
                </a:cxn>
                <a:cxn ang="0">
                  <a:pos x="16" y="40"/>
                </a:cxn>
                <a:cxn ang="0">
                  <a:pos x="19" y="44"/>
                </a:cxn>
                <a:cxn ang="0">
                  <a:pos x="22" y="46"/>
                </a:cxn>
                <a:cxn ang="0">
                  <a:pos x="27" y="44"/>
                </a:cxn>
                <a:cxn ang="0">
                  <a:pos x="31" y="40"/>
                </a:cxn>
                <a:cxn ang="0">
                  <a:pos x="34" y="35"/>
                </a:cxn>
                <a:cxn ang="0">
                  <a:pos x="34" y="29"/>
                </a:cxn>
                <a:cxn ang="0">
                  <a:pos x="33" y="24"/>
                </a:cxn>
                <a:cxn ang="0">
                  <a:pos x="30" y="20"/>
                </a:cxn>
                <a:cxn ang="0">
                  <a:pos x="30" y="15"/>
                </a:cxn>
                <a:cxn ang="0">
                  <a:pos x="29" y="9"/>
                </a:cxn>
                <a:cxn ang="0">
                  <a:pos x="27" y="5"/>
                </a:cxn>
                <a:cxn ang="0">
                  <a:pos x="23" y="1"/>
                </a:cxn>
                <a:cxn ang="0">
                  <a:pos x="22" y="0"/>
                </a:cxn>
                <a:cxn ang="0">
                  <a:pos x="21" y="0"/>
                </a:cxn>
                <a:cxn ang="0">
                  <a:pos x="19" y="0"/>
                </a:cxn>
                <a:cxn ang="0">
                  <a:pos x="16" y="1"/>
                </a:cxn>
                <a:cxn ang="0">
                  <a:pos x="14" y="4"/>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4" name="Freeform 437"/>
            <p:cNvSpPr>
              <a:spLocks/>
            </p:cNvSpPr>
            <p:nvPr/>
          </p:nvSpPr>
          <p:spPr bwMode="auto">
            <a:xfrm>
              <a:off x="2071688" y="1574477"/>
              <a:ext cx="215900" cy="103188"/>
            </a:xfrm>
            <a:custGeom>
              <a:avLst/>
              <a:gdLst/>
              <a:ahLst/>
              <a:cxnLst>
                <a:cxn ang="0">
                  <a:pos x="169" y="29"/>
                </a:cxn>
                <a:cxn ang="0">
                  <a:pos x="184" y="33"/>
                </a:cxn>
                <a:cxn ang="0">
                  <a:pos x="196" y="41"/>
                </a:cxn>
                <a:cxn ang="0">
                  <a:pos x="201" y="52"/>
                </a:cxn>
                <a:cxn ang="0">
                  <a:pos x="201" y="67"/>
                </a:cxn>
                <a:cxn ang="0">
                  <a:pos x="201" y="73"/>
                </a:cxn>
                <a:cxn ang="0">
                  <a:pos x="190" y="81"/>
                </a:cxn>
                <a:cxn ang="0">
                  <a:pos x="180" y="85"/>
                </a:cxn>
                <a:cxn ang="0">
                  <a:pos x="166" y="84"/>
                </a:cxn>
                <a:cxn ang="0">
                  <a:pos x="160" y="84"/>
                </a:cxn>
                <a:cxn ang="0">
                  <a:pos x="152" y="90"/>
                </a:cxn>
                <a:cxn ang="0">
                  <a:pos x="142" y="92"/>
                </a:cxn>
                <a:cxn ang="0">
                  <a:pos x="130" y="93"/>
                </a:cxn>
                <a:cxn ang="0">
                  <a:pos x="120" y="94"/>
                </a:cxn>
                <a:cxn ang="0">
                  <a:pos x="111" y="98"/>
                </a:cxn>
                <a:cxn ang="0">
                  <a:pos x="100" y="100"/>
                </a:cxn>
                <a:cxn ang="0">
                  <a:pos x="84" y="99"/>
                </a:cxn>
                <a:cxn ang="0">
                  <a:pos x="73" y="97"/>
                </a:cxn>
                <a:cxn ang="0">
                  <a:pos x="63" y="90"/>
                </a:cxn>
                <a:cxn ang="0">
                  <a:pos x="53" y="79"/>
                </a:cxn>
                <a:cxn ang="0">
                  <a:pos x="53" y="61"/>
                </a:cxn>
                <a:cxn ang="0">
                  <a:pos x="53" y="48"/>
                </a:cxn>
                <a:cxn ang="0">
                  <a:pos x="49" y="39"/>
                </a:cxn>
                <a:cxn ang="0">
                  <a:pos x="42" y="32"/>
                </a:cxn>
                <a:cxn ang="0">
                  <a:pos x="30" y="33"/>
                </a:cxn>
                <a:cxn ang="0">
                  <a:pos x="24" y="35"/>
                </a:cxn>
                <a:cxn ang="0">
                  <a:pos x="12" y="25"/>
                </a:cxn>
                <a:cxn ang="0">
                  <a:pos x="0" y="16"/>
                </a:cxn>
                <a:cxn ang="0">
                  <a:pos x="7" y="3"/>
                </a:cxn>
                <a:cxn ang="0">
                  <a:pos x="19" y="0"/>
                </a:cxn>
                <a:cxn ang="0">
                  <a:pos x="30" y="6"/>
                </a:cxn>
                <a:cxn ang="0">
                  <a:pos x="37" y="17"/>
                </a:cxn>
                <a:cxn ang="0">
                  <a:pos x="49" y="20"/>
                </a:cxn>
                <a:cxn ang="0">
                  <a:pos x="54" y="13"/>
                </a:cxn>
                <a:cxn ang="0">
                  <a:pos x="63" y="13"/>
                </a:cxn>
                <a:cxn ang="0">
                  <a:pos x="69" y="16"/>
                </a:cxn>
                <a:cxn ang="0">
                  <a:pos x="73" y="29"/>
                </a:cxn>
                <a:cxn ang="0">
                  <a:pos x="85" y="43"/>
                </a:cxn>
                <a:cxn ang="0">
                  <a:pos x="91" y="53"/>
                </a:cxn>
                <a:cxn ang="0">
                  <a:pos x="111" y="51"/>
                </a:cxn>
                <a:cxn ang="0">
                  <a:pos x="123" y="53"/>
                </a:cxn>
                <a:cxn ang="0">
                  <a:pos x="133" y="46"/>
                </a:cxn>
                <a:cxn ang="0">
                  <a:pos x="143" y="37"/>
                </a:cxn>
                <a:cxn ang="0">
                  <a:pos x="154" y="29"/>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5" name="Freeform 438"/>
            <p:cNvSpPr>
              <a:spLocks/>
            </p:cNvSpPr>
            <p:nvPr/>
          </p:nvSpPr>
          <p:spPr bwMode="auto">
            <a:xfrm>
              <a:off x="1901825" y="1509390"/>
              <a:ext cx="44450" cy="38100"/>
            </a:xfrm>
            <a:custGeom>
              <a:avLst/>
              <a:gdLst/>
              <a:ahLst/>
              <a:cxnLst>
                <a:cxn ang="0">
                  <a:pos x="38" y="20"/>
                </a:cxn>
                <a:cxn ang="0">
                  <a:pos x="37" y="21"/>
                </a:cxn>
                <a:cxn ang="0">
                  <a:pos x="35" y="26"/>
                </a:cxn>
                <a:cxn ang="0">
                  <a:pos x="32" y="30"/>
                </a:cxn>
                <a:cxn ang="0">
                  <a:pos x="28" y="34"/>
                </a:cxn>
                <a:cxn ang="0">
                  <a:pos x="24" y="36"/>
                </a:cxn>
                <a:cxn ang="0">
                  <a:pos x="19" y="37"/>
                </a:cxn>
                <a:cxn ang="0">
                  <a:pos x="14" y="37"/>
                </a:cxn>
                <a:cxn ang="0">
                  <a:pos x="13" y="37"/>
                </a:cxn>
                <a:cxn ang="0">
                  <a:pos x="12" y="36"/>
                </a:cxn>
                <a:cxn ang="0">
                  <a:pos x="11" y="34"/>
                </a:cxn>
                <a:cxn ang="0">
                  <a:pos x="9" y="32"/>
                </a:cxn>
                <a:cxn ang="0">
                  <a:pos x="5" y="28"/>
                </a:cxn>
                <a:cxn ang="0">
                  <a:pos x="2" y="24"/>
                </a:cxn>
                <a:cxn ang="0">
                  <a:pos x="0" y="20"/>
                </a:cxn>
                <a:cxn ang="0">
                  <a:pos x="2" y="17"/>
                </a:cxn>
                <a:cxn ang="0">
                  <a:pos x="6" y="12"/>
                </a:cxn>
                <a:cxn ang="0">
                  <a:pos x="12" y="7"/>
                </a:cxn>
                <a:cxn ang="0">
                  <a:pos x="17" y="3"/>
                </a:cxn>
                <a:cxn ang="0">
                  <a:pos x="20" y="0"/>
                </a:cxn>
                <a:cxn ang="0">
                  <a:pos x="25" y="2"/>
                </a:cxn>
                <a:cxn ang="0">
                  <a:pos x="32" y="4"/>
                </a:cxn>
                <a:cxn ang="0">
                  <a:pos x="37" y="7"/>
                </a:cxn>
                <a:cxn ang="0">
                  <a:pos x="40" y="12"/>
                </a:cxn>
                <a:cxn ang="0">
                  <a:pos x="38" y="20"/>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6" name="Freeform 439"/>
            <p:cNvSpPr>
              <a:spLocks/>
            </p:cNvSpPr>
            <p:nvPr/>
          </p:nvSpPr>
          <p:spPr bwMode="auto">
            <a:xfrm flipV="1">
              <a:off x="2071688" y="1268090"/>
              <a:ext cx="215900" cy="323850"/>
            </a:xfrm>
            <a:custGeom>
              <a:avLst/>
              <a:gdLst/>
              <a:ahLst/>
              <a:cxnLst>
                <a:cxn ang="0">
                  <a:pos x="93" y="277"/>
                </a:cxn>
                <a:cxn ang="0">
                  <a:pos x="88" y="294"/>
                </a:cxn>
                <a:cxn ang="0">
                  <a:pos x="80" y="308"/>
                </a:cxn>
                <a:cxn ang="0">
                  <a:pos x="92" y="319"/>
                </a:cxn>
                <a:cxn ang="0">
                  <a:pos x="123" y="318"/>
                </a:cxn>
                <a:cxn ang="0">
                  <a:pos x="144" y="309"/>
                </a:cxn>
                <a:cxn ang="0">
                  <a:pos x="164" y="304"/>
                </a:cxn>
                <a:cxn ang="0">
                  <a:pos x="182" y="305"/>
                </a:cxn>
                <a:cxn ang="0">
                  <a:pos x="197" y="289"/>
                </a:cxn>
                <a:cxn ang="0">
                  <a:pos x="180" y="273"/>
                </a:cxn>
                <a:cxn ang="0">
                  <a:pos x="172" y="263"/>
                </a:cxn>
                <a:cxn ang="0">
                  <a:pos x="182" y="251"/>
                </a:cxn>
                <a:cxn ang="0">
                  <a:pos x="179" y="235"/>
                </a:cxn>
                <a:cxn ang="0">
                  <a:pos x="188" y="219"/>
                </a:cxn>
                <a:cxn ang="0">
                  <a:pos x="190" y="187"/>
                </a:cxn>
                <a:cxn ang="0">
                  <a:pos x="165" y="168"/>
                </a:cxn>
                <a:cxn ang="0">
                  <a:pos x="188" y="149"/>
                </a:cxn>
                <a:cxn ang="0">
                  <a:pos x="192" y="120"/>
                </a:cxn>
                <a:cxn ang="0">
                  <a:pos x="196" y="90"/>
                </a:cxn>
                <a:cxn ang="0">
                  <a:pos x="201" y="55"/>
                </a:cxn>
                <a:cxn ang="0">
                  <a:pos x="183" y="54"/>
                </a:cxn>
                <a:cxn ang="0">
                  <a:pos x="197" y="29"/>
                </a:cxn>
                <a:cxn ang="0">
                  <a:pos x="194" y="6"/>
                </a:cxn>
                <a:cxn ang="0">
                  <a:pos x="189" y="5"/>
                </a:cxn>
                <a:cxn ang="0">
                  <a:pos x="173" y="3"/>
                </a:cxn>
                <a:cxn ang="0">
                  <a:pos x="163" y="0"/>
                </a:cxn>
                <a:cxn ang="0">
                  <a:pos x="159" y="2"/>
                </a:cxn>
                <a:cxn ang="0">
                  <a:pos x="145" y="6"/>
                </a:cxn>
                <a:cxn ang="0">
                  <a:pos x="129" y="9"/>
                </a:cxn>
                <a:cxn ang="0">
                  <a:pos x="121" y="17"/>
                </a:cxn>
                <a:cxn ang="0">
                  <a:pos x="108" y="20"/>
                </a:cxn>
                <a:cxn ang="0">
                  <a:pos x="87" y="31"/>
                </a:cxn>
                <a:cxn ang="0">
                  <a:pos x="81" y="54"/>
                </a:cxn>
                <a:cxn ang="0">
                  <a:pos x="74" y="61"/>
                </a:cxn>
                <a:cxn ang="0">
                  <a:pos x="59" y="70"/>
                </a:cxn>
                <a:cxn ang="0">
                  <a:pos x="46" y="81"/>
                </a:cxn>
                <a:cxn ang="0">
                  <a:pos x="37" y="93"/>
                </a:cxn>
                <a:cxn ang="0">
                  <a:pos x="44" y="115"/>
                </a:cxn>
                <a:cxn ang="0">
                  <a:pos x="47" y="132"/>
                </a:cxn>
                <a:cxn ang="0">
                  <a:pos x="43" y="143"/>
                </a:cxn>
                <a:cxn ang="0">
                  <a:pos x="31" y="118"/>
                </a:cxn>
                <a:cxn ang="0">
                  <a:pos x="21" y="118"/>
                </a:cxn>
                <a:cxn ang="0">
                  <a:pos x="9" y="132"/>
                </a:cxn>
                <a:cxn ang="0">
                  <a:pos x="0" y="166"/>
                </a:cxn>
                <a:cxn ang="0">
                  <a:pos x="2" y="190"/>
                </a:cxn>
                <a:cxn ang="0">
                  <a:pos x="19" y="199"/>
                </a:cxn>
                <a:cxn ang="0">
                  <a:pos x="30" y="199"/>
                </a:cxn>
                <a:cxn ang="0">
                  <a:pos x="28" y="211"/>
                </a:cxn>
                <a:cxn ang="0">
                  <a:pos x="24" y="224"/>
                </a:cxn>
                <a:cxn ang="0">
                  <a:pos x="36" y="238"/>
                </a:cxn>
                <a:cxn ang="0">
                  <a:pos x="63" y="244"/>
                </a:cxn>
                <a:cxn ang="0">
                  <a:pos x="77" y="229"/>
                </a:cxn>
                <a:cxn ang="0">
                  <a:pos x="96" y="240"/>
                </a:cxn>
                <a:cxn ang="0">
                  <a:pos x="113" y="263"/>
                </a:cxn>
                <a:cxn ang="0">
                  <a:pos x="103" y="256"/>
                </a:cxn>
                <a:cxn ang="0">
                  <a:pos x="82" y="258"/>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7" name="Freeform 440"/>
            <p:cNvSpPr>
              <a:spLocks/>
            </p:cNvSpPr>
            <p:nvPr/>
          </p:nvSpPr>
          <p:spPr bwMode="auto">
            <a:xfrm>
              <a:off x="2076450" y="1536377"/>
              <a:ext cx="36513" cy="17463"/>
            </a:xfrm>
            <a:custGeom>
              <a:avLst/>
              <a:gdLst/>
              <a:ahLst/>
              <a:cxnLst>
                <a:cxn ang="0">
                  <a:pos x="31" y="0"/>
                </a:cxn>
                <a:cxn ang="0">
                  <a:pos x="32" y="1"/>
                </a:cxn>
                <a:cxn ang="0">
                  <a:pos x="34" y="3"/>
                </a:cxn>
                <a:cxn ang="0">
                  <a:pos x="34" y="6"/>
                </a:cxn>
                <a:cxn ang="0">
                  <a:pos x="30" y="10"/>
                </a:cxn>
                <a:cxn ang="0">
                  <a:pos x="24" y="14"/>
                </a:cxn>
                <a:cxn ang="0">
                  <a:pos x="22" y="16"/>
                </a:cxn>
                <a:cxn ang="0">
                  <a:pos x="19" y="18"/>
                </a:cxn>
                <a:cxn ang="0">
                  <a:pos x="12" y="18"/>
                </a:cxn>
                <a:cxn ang="0">
                  <a:pos x="4" y="16"/>
                </a:cxn>
                <a:cxn ang="0">
                  <a:pos x="0" y="13"/>
                </a:cxn>
                <a:cxn ang="0">
                  <a:pos x="0" y="9"/>
                </a:cxn>
                <a:cxn ang="0">
                  <a:pos x="4" y="7"/>
                </a:cxn>
                <a:cxn ang="0">
                  <a:pos x="14" y="4"/>
                </a:cxn>
                <a:cxn ang="0">
                  <a:pos x="22" y="2"/>
                </a:cxn>
                <a:cxn ang="0">
                  <a:pos x="29" y="1"/>
                </a:cxn>
                <a:cxn ang="0">
                  <a:pos x="31" y="0"/>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8" name="Freeform 441"/>
            <p:cNvSpPr>
              <a:spLocks/>
            </p:cNvSpPr>
            <p:nvPr/>
          </p:nvSpPr>
          <p:spPr bwMode="auto">
            <a:xfrm>
              <a:off x="2057400" y="1490340"/>
              <a:ext cx="33338" cy="47625"/>
            </a:xfrm>
            <a:custGeom>
              <a:avLst/>
              <a:gdLst/>
              <a:ahLst/>
              <a:cxnLst>
                <a:cxn ang="0">
                  <a:pos x="22" y="14"/>
                </a:cxn>
                <a:cxn ang="0">
                  <a:pos x="20" y="10"/>
                </a:cxn>
                <a:cxn ang="0">
                  <a:pos x="14" y="5"/>
                </a:cxn>
                <a:cxn ang="0">
                  <a:pos x="7" y="0"/>
                </a:cxn>
                <a:cxn ang="0">
                  <a:pos x="3" y="0"/>
                </a:cxn>
                <a:cxn ang="0">
                  <a:pos x="1" y="5"/>
                </a:cxn>
                <a:cxn ang="0">
                  <a:pos x="0" y="10"/>
                </a:cxn>
                <a:cxn ang="0">
                  <a:pos x="1" y="15"/>
                </a:cxn>
                <a:cxn ang="0">
                  <a:pos x="1" y="20"/>
                </a:cxn>
                <a:cxn ang="0">
                  <a:pos x="3" y="27"/>
                </a:cxn>
                <a:cxn ang="0">
                  <a:pos x="4" y="36"/>
                </a:cxn>
                <a:cxn ang="0">
                  <a:pos x="7" y="43"/>
                </a:cxn>
                <a:cxn ang="0">
                  <a:pos x="11" y="46"/>
                </a:cxn>
                <a:cxn ang="0">
                  <a:pos x="16" y="46"/>
                </a:cxn>
                <a:cxn ang="0">
                  <a:pos x="21" y="44"/>
                </a:cxn>
                <a:cxn ang="0">
                  <a:pos x="26" y="42"/>
                </a:cxn>
                <a:cxn ang="0">
                  <a:pos x="29" y="38"/>
                </a:cxn>
                <a:cxn ang="0">
                  <a:pos x="31" y="33"/>
                </a:cxn>
                <a:cxn ang="0">
                  <a:pos x="34" y="30"/>
                </a:cxn>
                <a:cxn ang="0">
                  <a:pos x="34" y="27"/>
                </a:cxn>
                <a:cxn ang="0">
                  <a:pos x="30" y="22"/>
                </a:cxn>
                <a:cxn ang="0">
                  <a:pos x="26" y="17"/>
                </a:cxn>
                <a:cxn ang="0">
                  <a:pos x="23" y="15"/>
                </a:cxn>
                <a:cxn ang="0">
                  <a:pos x="22" y="14"/>
                </a:cxn>
                <a:cxn ang="0">
                  <a:pos x="22" y="14"/>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lnTo>
                    <a:pt x="22" y="1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79" name="Freeform 442"/>
            <p:cNvSpPr>
              <a:spLocks/>
            </p:cNvSpPr>
            <p:nvPr/>
          </p:nvSpPr>
          <p:spPr bwMode="auto">
            <a:xfrm>
              <a:off x="1990725" y="1468115"/>
              <a:ext cx="60325" cy="68262"/>
            </a:xfrm>
            <a:custGeom>
              <a:avLst/>
              <a:gdLst/>
              <a:ahLst/>
              <a:cxnLst>
                <a:cxn ang="0">
                  <a:pos x="53" y="34"/>
                </a:cxn>
                <a:cxn ang="0">
                  <a:pos x="54" y="37"/>
                </a:cxn>
                <a:cxn ang="0">
                  <a:pos x="57" y="44"/>
                </a:cxn>
                <a:cxn ang="0">
                  <a:pos x="58" y="53"/>
                </a:cxn>
                <a:cxn ang="0">
                  <a:pos x="57" y="60"/>
                </a:cxn>
                <a:cxn ang="0">
                  <a:pos x="54" y="64"/>
                </a:cxn>
                <a:cxn ang="0">
                  <a:pos x="52" y="66"/>
                </a:cxn>
                <a:cxn ang="0">
                  <a:pos x="48" y="67"/>
                </a:cxn>
                <a:cxn ang="0">
                  <a:pos x="44" y="65"/>
                </a:cxn>
                <a:cxn ang="0">
                  <a:pos x="39" y="62"/>
                </a:cxn>
                <a:cxn ang="0">
                  <a:pos x="35" y="60"/>
                </a:cxn>
                <a:cxn ang="0">
                  <a:pos x="32" y="58"/>
                </a:cxn>
                <a:cxn ang="0">
                  <a:pos x="29" y="53"/>
                </a:cxn>
                <a:cxn ang="0">
                  <a:pos x="24" y="50"/>
                </a:cxn>
                <a:cxn ang="0">
                  <a:pos x="17" y="49"/>
                </a:cxn>
                <a:cxn ang="0">
                  <a:pos x="12" y="47"/>
                </a:cxn>
                <a:cxn ang="0">
                  <a:pos x="8" y="42"/>
                </a:cxn>
                <a:cxn ang="0">
                  <a:pos x="9" y="37"/>
                </a:cxn>
                <a:cxn ang="0">
                  <a:pos x="13" y="37"/>
                </a:cxn>
                <a:cxn ang="0">
                  <a:pos x="15" y="36"/>
                </a:cxn>
                <a:cxn ang="0">
                  <a:pos x="13" y="30"/>
                </a:cxn>
                <a:cxn ang="0">
                  <a:pos x="7" y="20"/>
                </a:cxn>
                <a:cxn ang="0">
                  <a:pos x="2" y="11"/>
                </a:cxn>
                <a:cxn ang="0">
                  <a:pos x="0" y="4"/>
                </a:cxn>
                <a:cxn ang="0">
                  <a:pos x="4" y="0"/>
                </a:cxn>
                <a:cxn ang="0">
                  <a:pos x="9" y="0"/>
                </a:cxn>
                <a:cxn ang="0">
                  <a:pos x="14" y="0"/>
                </a:cxn>
                <a:cxn ang="0">
                  <a:pos x="19" y="2"/>
                </a:cxn>
                <a:cxn ang="0">
                  <a:pos x="23" y="8"/>
                </a:cxn>
                <a:cxn ang="0">
                  <a:pos x="28" y="13"/>
                </a:cxn>
                <a:cxn ang="0">
                  <a:pos x="34" y="15"/>
                </a:cxn>
                <a:cxn ang="0">
                  <a:pos x="38" y="16"/>
                </a:cxn>
                <a:cxn ang="0">
                  <a:pos x="40" y="19"/>
                </a:cxn>
                <a:cxn ang="0">
                  <a:pos x="43" y="24"/>
                </a:cxn>
                <a:cxn ang="0">
                  <a:pos x="47" y="29"/>
                </a:cxn>
                <a:cxn ang="0">
                  <a:pos x="51" y="32"/>
                </a:cxn>
                <a:cxn ang="0">
                  <a:pos x="53" y="34"/>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80" name="Freeform 443"/>
            <p:cNvSpPr>
              <a:spLocks/>
            </p:cNvSpPr>
            <p:nvPr/>
          </p:nvSpPr>
          <p:spPr bwMode="auto">
            <a:xfrm>
              <a:off x="1747838" y="1715765"/>
              <a:ext cx="269875" cy="234950"/>
            </a:xfrm>
            <a:custGeom>
              <a:avLst/>
              <a:gdLst/>
              <a:ahLst/>
              <a:cxnLst>
                <a:cxn ang="0">
                  <a:pos x="249" y="175"/>
                </a:cxn>
                <a:cxn ang="0">
                  <a:pos x="236" y="187"/>
                </a:cxn>
                <a:cxn ang="0">
                  <a:pos x="226" y="189"/>
                </a:cxn>
                <a:cxn ang="0">
                  <a:pos x="231" y="220"/>
                </a:cxn>
                <a:cxn ang="0">
                  <a:pos x="205" y="231"/>
                </a:cxn>
                <a:cxn ang="0">
                  <a:pos x="178" y="210"/>
                </a:cxn>
                <a:cxn ang="0">
                  <a:pos x="163" y="196"/>
                </a:cxn>
                <a:cxn ang="0">
                  <a:pos x="154" y="196"/>
                </a:cxn>
                <a:cxn ang="0">
                  <a:pos x="123" y="213"/>
                </a:cxn>
                <a:cxn ang="0">
                  <a:pos x="89" y="221"/>
                </a:cxn>
                <a:cxn ang="0">
                  <a:pos x="73" y="221"/>
                </a:cxn>
                <a:cxn ang="0">
                  <a:pos x="52" y="215"/>
                </a:cxn>
                <a:cxn ang="0">
                  <a:pos x="44" y="204"/>
                </a:cxn>
                <a:cxn ang="0">
                  <a:pos x="25" y="173"/>
                </a:cxn>
                <a:cxn ang="0">
                  <a:pos x="1" y="157"/>
                </a:cxn>
                <a:cxn ang="0">
                  <a:pos x="1" y="130"/>
                </a:cxn>
                <a:cxn ang="0">
                  <a:pos x="27" y="129"/>
                </a:cxn>
                <a:cxn ang="0">
                  <a:pos x="57" y="142"/>
                </a:cxn>
                <a:cxn ang="0">
                  <a:pos x="82" y="151"/>
                </a:cxn>
                <a:cxn ang="0">
                  <a:pos x="81" y="126"/>
                </a:cxn>
                <a:cxn ang="0">
                  <a:pos x="44" y="117"/>
                </a:cxn>
                <a:cxn ang="0">
                  <a:pos x="12" y="114"/>
                </a:cxn>
                <a:cxn ang="0">
                  <a:pos x="2" y="90"/>
                </a:cxn>
                <a:cxn ang="0">
                  <a:pos x="28" y="84"/>
                </a:cxn>
                <a:cxn ang="0">
                  <a:pos x="19" y="68"/>
                </a:cxn>
                <a:cxn ang="0">
                  <a:pos x="3" y="44"/>
                </a:cxn>
                <a:cxn ang="0">
                  <a:pos x="21" y="33"/>
                </a:cxn>
                <a:cxn ang="0">
                  <a:pos x="28" y="15"/>
                </a:cxn>
                <a:cxn ang="0">
                  <a:pos x="51" y="7"/>
                </a:cxn>
                <a:cxn ang="0">
                  <a:pos x="88" y="3"/>
                </a:cxn>
                <a:cxn ang="0">
                  <a:pos x="82" y="27"/>
                </a:cxn>
                <a:cxn ang="0">
                  <a:pos x="102" y="27"/>
                </a:cxn>
                <a:cxn ang="0">
                  <a:pos x="124" y="47"/>
                </a:cxn>
                <a:cxn ang="0">
                  <a:pos x="125" y="27"/>
                </a:cxn>
                <a:cxn ang="0">
                  <a:pos x="145" y="47"/>
                </a:cxn>
                <a:cxn ang="0">
                  <a:pos x="152" y="83"/>
                </a:cxn>
                <a:cxn ang="0">
                  <a:pos x="162" y="51"/>
                </a:cxn>
                <a:cxn ang="0">
                  <a:pos x="157" y="27"/>
                </a:cxn>
                <a:cxn ang="0">
                  <a:pos x="173" y="23"/>
                </a:cxn>
                <a:cxn ang="0">
                  <a:pos x="181" y="19"/>
                </a:cxn>
                <a:cxn ang="0">
                  <a:pos x="172" y="7"/>
                </a:cxn>
                <a:cxn ang="0">
                  <a:pos x="198" y="5"/>
                </a:cxn>
                <a:cxn ang="0">
                  <a:pos x="213" y="15"/>
                </a:cxn>
                <a:cxn ang="0">
                  <a:pos x="199" y="39"/>
                </a:cxn>
                <a:cxn ang="0">
                  <a:pos x="195" y="60"/>
                </a:cxn>
                <a:cxn ang="0">
                  <a:pos x="201" y="98"/>
                </a:cxn>
                <a:cxn ang="0">
                  <a:pos x="198" y="115"/>
                </a:cxn>
                <a:cxn ang="0">
                  <a:pos x="209" y="141"/>
                </a:cxn>
                <a:cxn ang="0">
                  <a:pos x="237" y="160"/>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81" name="Freeform 444"/>
            <p:cNvSpPr>
              <a:spLocks/>
            </p:cNvSpPr>
            <p:nvPr/>
          </p:nvSpPr>
          <p:spPr bwMode="auto">
            <a:xfrm>
              <a:off x="2654300" y="4814565"/>
              <a:ext cx="403225" cy="1014412"/>
            </a:xfrm>
            <a:custGeom>
              <a:avLst/>
              <a:gdLst/>
              <a:ahLst/>
              <a:cxnLst>
                <a:cxn ang="0">
                  <a:pos x="54" y="7"/>
                </a:cxn>
                <a:cxn ang="0">
                  <a:pos x="68" y="0"/>
                </a:cxn>
                <a:cxn ang="0">
                  <a:pos x="77" y="16"/>
                </a:cxn>
                <a:cxn ang="0">
                  <a:pos x="107" y="31"/>
                </a:cxn>
                <a:cxn ang="0">
                  <a:pos x="110" y="48"/>
                </a:cxn>
                <a:cxn ang="0">
                  <a:pos x="116" y="57"/>
                </a:cxn>
                <a:cxn ang="0">
                  <a:pos x="146" y="43"/>
                </a:cxn>
                <a:cxn ang="0">
                  <a:pos x="140" y="64"/>
                </a:cxn>
                <a:cxn ang="0">
                  <a:pos x="114" y="85"/>
                </a:cxn>
                <a:cxn ang="0">
                  <a:pos x="107" y="99"/>
                </a:cxn>
                <a:cxn ang="0">
                  <a:pos x="110" y="121"/>
                </a:cxn>
                <a:cxn ang="0">
                  <a:pos x="117" y="129"/>
                </a:cxn>
                <a:cxn ang="0">
                  <a:pos x="105" y="129"/>
                </a:cxn>
                <a:cxn ang="0">
                  <a:pos x="125" y="141"/>
                </a:cxn>
                <a:cxn ang="0">
                  <a:pos x="122" y="162"/>
                </a:cxn>
                <a:cxn ang="0">
                  <a:pos x="111" y="169"/>
                </a:cxn>
                <a:cxn ang="0">
                  <a:pos x="84" y="178"/>
                </a:cxn>
                <a:cxn ang="0">
                  <a:pos x="69" y="202"/>
                </a:cxn>
                <a:cxn ang="0">
                  <a:pos x="56" y="207"/>
                </a:cxn>
                <a:cxn ang="0">
                  <a:pos x="62" y="216"/>
                </a:cxn>
                <a:cxn ang="0">
                  <a:pos x="53" y="238"/>
                </a:cxn>
                <a:cxn ang="0">
                  <a:pos x="33" y="261"/>
                </a:cxn>
                <a:cxn ang="0">
                  <a:pos x="35" y="274"/>
                </a:cxn>
                <a:cxn ang="0">
                  <a:pos x="42" y="282"/>
                </a:cxn>
                <a:cxn ang="0">
                  <a:pos x="38" y="300"/>
                </a:cxn>
                <a:cxn ang="0">
                  <a:pos x="26" y="318"/>
                </a:cxn>
                <a:cxn ang="0">
                  <a:pos x="14" y="336"/>
                </a:cxn>
                <a:cxn ang="0">
                  <a:pos x="29" y="367"/>
                </a:cxn>
                <a:cxn ang="0">
                  <a:pos x="7" y="345"/>
                </a:cxn>
                <a:cxn ang="0">
                  <a:pos x="1" y="338"/>
                </a:cxn>
                <a:cxn ang="0">
                  <a:pos x="0" y="306"/>
                </a:cxn>
                <a:cxn ang="0">
                  <a:pos x="24" y="154"/>
                </a:cxn>
                <a:cxn ang="0">
                  <a:pos x="12" y="224"/>
                </a:cxn>
                <a:cxn ang="0">
                  <a:pos x="35" y="87"/>
                </a:cxn>
                <a:cxn ang="0">
                  <a:pos x="47" y="52"/>
                </a:cxn>
                <a:cxn ang="0">
                  <a:pos x="57" y="33"/>
                </a:cxn>
                <a:cxn ang="0">
                  <a:pos x="54" y="7"/>
                </a:cxn>
              </a:cxnLst>
              <a:rect l="0" t="0" r="r" b="b"/>
              <a:pathLst>
                <a:path w="146" h="367">
                  <a:moveTo>
                    <a:pt x="54" y="7"/>
                  </a:moveTo>
                  <a:lnTo>
                    <a:pt x="68" y="0"/>
                  </a:lnTo>
                  <a:lnTo>
                    <a:pt x="77" y="16"/>
                  </a:lnTo>
                  <a:lnTo>
                    <a:pt x="107" y="31"/>
                  </a:lnTo>
                  <a:lnTo>
                    <a:pt x="110" y="48"/>
                  </a:lnTo>
                  <a:lnTo>
                    <a:pt x="116" y="57"/>
                  </a:lnTo>
                  <a:lnTo>
                    <a:pt x="146" y="43"/>
                  </a:lnTo>
                  <a:lnTo>
                    <a:pt x="140" y="64"/>
                  </a:lnTo>
                  <a:lnTo>
                    <a:pt x="114" y="85"/>
                  </a:lnTo>
                  <a:lnTo>
                    <a:pt x="107" y="99"/>
                  </a:lnTo>
                  <a:lnTo>
                    <a:pt x="110" y="121"/>
                  </a:lnTo>
                  <a:lnTo>
                    <a:pt x="117" y="129"/>
                  </a:lnTo>
                  <a:lnTo>
                    <a:pt x="105" y="129"/>
                  </a:lnTo>
                  <a:lnTo>
                    <a:pt x="125" y="141"/>
                  </a:lnTo>
                  <a:lnTo>
                    <a:pt x="122" y="162"/>
                  </a:lnTo>
                  <a:lnTo>
                    <a:pt x="111" y="169"/>
                  </a:lnTo>
                  <a:lnTo>
                    <a:pt x="84" y="178"/>
                  </a:lnTo>
                  <a:lnTo>
                    <a:pt x="69" y="202"/>
                  </a:lnTo>
                  <a:lnTo>
                    <a:pt x="56" y="207"/>
                  </a:lnTo>
                  <a:lnTo>
                    <a:pt x="62" y="216"/>
                  </a:lnTo>
                  <a:lnTo>
                    <a:pt x="53" y="238"/>
                  </a:lnTo>
                  <a:lnTo>
                    <a:pt x="33" y="261"/>
                  </a:lnTo>
                  <a:lnTo>
                    <a:pt x="35" y="274"/>
                  </a:lnTo>
                  <a:lnTo>
                    <a:pt x="42" y="282"/>
                  </a:lnTo>
                  <a:lnTo>
                    <a:pt x="38" y="300"/>
                  </a:lnTo>
                  <a:lnTo>
                    <a:pt x="26" y="318"/>
                  </a:lnTo>
                  <a:lnTo>
                    <a:pt x="14" y="336"/>
                  </a:lnTo>
                  <a:lnTo>
                    <a:pt x="29" y="367"/>
                  </a:lnTo>
                  <a:lnTo>
                    <a:pt x="7" y="345"/>
                  </a:lnTo>
                  <a:lnTo>
                    <a:pt x="1" y="338"/>
                  </a:lnTo>
                  <a:lnTo>
                    <a:pt x="0" y="306"/>
                  </a:lnTo>
                  <a:lnTo>
                    <a:pt x="24" y="154"/>
                  </a:lnTo>
                  <a:lnTo>
                    <a:pt x="12" y="224"/>
                  </a:lnTo>
                  <a:lnTo>
                    <a:pt x="35" y="87"/>
                  </a:lnTo>
                  <a:lnTo>
                    <a:pt x="47" y="52"/>
                  </a:lnTo>
                  <a:lnTo>
                    <a:pt x="57" y="33"/>
                  </a:lnTo>
                  <a:lnTo>
                    <a:pt x="54" y="7"/>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82" name="Freeform 445"/>
            <p:cNvSpPr>
              <a:spLocks/>
            </p:cNvSpPr>
            <p:nvPr/>
          </p:nvSpPr>
          <p:spPr bwMode="auto">
            <a:xfrm>
              <a:off x="2774156" y="3972395"/>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83" name="Freeform 448"/>
            <p:cNvSpPr>
              <a:spLocks/>
            </p:cNvSpPr>
            <p:nvPr/>
          </p:nvSpPr>
          <p:spPr bwMode="auto">
            <a:xfrm>
              <a:off x="7019925" y="4090665"/>
              <a:ext cx="115888" cy="133350"/>
            </a:xfrm>
            <a:custGeom>
              <a:avLst/>
              <a:gdLst/>
              <a:ahLst/>
              <a:cxnLst>
                <a:cxn ang="0">
                  <a:pos x="0" y="41"/>
                </a:cxn>
                <a:cxn ang="0">
                  <a:pos x="75" y="339"/>
                </a:cxn>
                <a:cxn ang="0">
                  <a:pos x="273" y="579"/>
                </a:cxn>
                <a:cxn ang="0">
                  <a:pos x="605" y="769"/>
                </a:cxn>
                <a:cxn ang="0">
                  <a:pos x="675" y="773"/>
                </a:cxn>
                <a:cxn ang="0">
                  <a:pos x="563" y="583"/>
                </a:cxn>
                <a:cxn ang="0">
                  <a:pos x="493" y="521"/>
                </a:cxn>
                <a:cxn ang="0">
                  <a:pos x="493" y="269"/>
                </a:cxn>
                <a:cxn ang="0">
                  <a:pos x="323" y="78"/>
                </a:cxn>
                <a:cxn ang="0">
                  <a:pos x="286" y="58"/>
                </a:cxn>
                <a:cxn ang="0">
                  <a:pos x="253" y="111"/>
                </a:cxn>
                <a:cxn ang="0">
                  <a:pos x="141" y="128"/>
                </a:cxn>
                <a:cxn ang="0">
                  <a:pos x="145" y="70"/>
                </a:cxn>
                <a:cxn ang="0">
                  <a:pos x="17" y="0"/>
                </a:cxn>
                <a:cxn ang="0">
                  <a:pos x="0" y="41"/>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84" name="Freeform 450"/>
            <p:cNvSpPr>
              <a:spLocks/>
            </p:cNvSpPr>
            <p:nvPr/>
          </p:nvSpPr>
          <p:spPr bwMode="auto">
            <a:xfrm>
              <a:off x="3819525" y="2077715"/>
              <a:ext cx="131763" cy="50800"/>
            </a:xfrm>
            <a:custGeom>
              <a:avLst/>
              <a:gdLst/>
              <a:ahLst/>
              <a:cxnLst>
                <a:cxn ang="0">
                  <a:pos x="14" y="0"/>
                </a:cxn>
                <a:cxn ang="0">
                  <a:pos x="26" y="14"/>
                </a:cxn>
                <a:cxn ang="0">
                  <a:pos x="54" y="4"/>
                </a:cxn>
                <a:cxn ang="0">
                  <a:pos x="88" y="0"/>
                </a:cxn>
                <a:cxn ang="0">
                  <a:pos x="114" y="18"/>
                </a:cxn>
                <a:cxn ang="0">
                  <a:pos x="96" y="38"/>
                </a:cxn>
                <a:cxn ang="0">
                  <a:pos x="68" y="54"/>
                </a:cxn>
                <a:cxn ang="0">
                  <a:pos x="30" y="42"/>
                </a:cxn>
                <a:cxn ang="0">
                  <a:pos x="10" y="44"/>
                </a:cxn>
                <a:cxn ang="0">
                  <a:pos x="26" y="36"/>
                </a:cxn>
                <a:cxn ang="0">
                  <a:pos x="16" y="22"/>
                </a:cxn>
                <a:cxn ang="0">
                  <a:pos x="0" y="16"/>
                </a:cxn>
                <a:cxn ang="0">
                  <a:pos x="14" y="0"/>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9525" cap="flat" cmpd="sng">
              <a:solidFill>
                <a:srgbClr val="0085C3"/>
              </a:solidFill>
              <a:prstDash val="solid"/>
              <a:round/>
              <a:headEnd/>
              <a:tailEnd/>
            </a:ln>
            <a:effectLst/>
          </p:spPr>
          <p:txBody>
            <a:bodyPr anchor="ctr"/>
            <a:lstStyle/>
            <a:p>
              <a:endParaRPr lang="en-US" dirty="0">
                <a:solidFill>
                  <a:srgbClr val="444444"/>
                </a:solidFill>
              </a:endParaRPr>
            </a:p>
          </p:txBody>
        </p:sp>
        <p:sp>
          <p:nvSpPr>
            <p:cNvPr id="185" name="Freeform 451"/>
            <p:cNvSpPr>
              <a:spLocks/>
            </p:cNvSpPr>
            <p:nvPr/>
          </p:nvSpPr>
          <p:spPr bwMode="auto">
            <a:xfrm>
              <a:off x="7815263" y="4211315"/>
              <a:ext cx="215900" cy="185737"/>
            </a:xfrm>
            <a:custGeom>
              <a:avLst/>
              <a:gdLst/>
              <a:ahLst/>
              <a:cxnLst>
                <a:cxn ang="0">
                  <a:pos x="410" y="71"/>
                </a:cxn>
                <a:cxn ang="0">
                  <a:pos x="321" y="142"/>
                </a:cxn>
                <a:cxn ang="0">
                  <a:pos x="233" y="142"/>
                </a:cxn>
                <a:cxn ang="0">
                  <a:pos x="178" y="71"/>
                </a:cxn>
                <a:cxn ang="0">
                  <a:pos x="107" y="0"/>
                </a:cxn>
                <a:cxn ang="0">
                  <a:pos x="36" y="19"/>
                </a:cxn>
                <a:cxn ang="0">
                  <a:pos x="0" y="90"/>
                </a:cxn>
                <a:cxn ang="0">
                  <a:pos x="72" y="124"/>
                </a:cxn>
                <a:cxn ang="0">
                  <a:pos x="89" y="159"/>
                </a:cxn>
                <a:cxn ang="0">
                  <a:pos x="107" y="213"/>
                </a:cxn>
                <a:cxn ang="0">
                  <a:pos x="160" y="213"/>
                </a:cxn>
                <a:cxn ang="0">
                  <a:pos x="197" y="230"/>
                </a:cxn>
                <a:cxn ang="0">
                  <a:pos x="321" y="283"/>
                </a:cxn>
                <a:cxn ang="0">
                  <a:pos x="446" y="353"/>
                </a:cxn>
                <a:cxn ang="0">
                  <a:pos x="465" y="389"/>
                </a:cxn>
                <a:cxn ang="0">
                  <a:pos x="393" y="424"/>
                </a:cxn>
                <a:cxn ang="0">
                  <a:pos x="465" y="442"/>
                </a:cxn>
                <a:cxn ang="0">
                  <a:pos x="518" y="459"/>
                </a:cxn>
                <a:cxn ang="0">
                  <a:pos x="575" y="488"/>
                </a:cxn>
                <a:cxn ang="0">
                  <a:pos x="575" y="122"/>
                </a:cxn>
                <a:cxn ang="0">
                  <a:pos x="410" y="7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86" name="Freeform 452"/>
            <p:cNvSpPr>
              <a:spLocks/>
            </p:cNvSpPr>
            <p:nvPr/>
          </p:nvSpPr>
          <p:spPr bwMode="auto">
            <a:xfrm>
              <a:off x="8031163" y="4255765"/>
              <a:ext cx="174625" cy="169862"/>
            </a:xfrm>
            <a:custGeom>
              <a:avLst/>
              <a:gdLst/>
              <a:ahLst/>
              <a:cxnLst>
                <a:cxn ang="0">
                  <a:pos x="353" y="302"/>
                </a:cxn>
                <a:cxn ang="0">
                  <a:pos x="336" y="249"/>
                </a:cxn>
                <a:cxn ang="0">
                  <a:pos x="372" y="214"/>
                </a:cxn>
                <a:cxn ang="0">
                  <a:pos x="283" y="161"/>
                </a:cxn>
                <a:cxn ang="0">
                  <a:pos x="247" y="108"/>
                </a:cxn>
                <a:cxn ang="0">
                  <a:pos x="122" y="37"/>
                </a:cxn>
                <a:cxn ang="0">
                  <a:pos x="0" y="0"/>
                </a:cxn>
                <a:cxn ang="0">
                  <a:pos x="0" y="366"/>
                </a:cxn>
                <a:cxn ang="0">
                  <a:pos x="14" y="373"/>
                </a:cxn>
                <a:cxn ang="0">
                  <a:pos x="67" y="373"/>
                </a:cxn>
                <a:cxn ang="0">
                  <a:pos x="122" y="320"/>
                </a:cxn>
                <a:cxn ang="0">
                  <a:pos x="211" y="284"/>
                </a:cxn>
                <a:cxn ang="0">
                  <a:pos x="264" y="320"/>
                </a:cxn>
                <a:cxn ang="0">
                  <a:pos x="389" y="408"/>
                </a:cxn>
                <a:cxn ang="0">
                  <a:pos x="460" y="443"/>
                </a:cxn>
                <a:cxn ang="0">
                  <a:pos x="460" y="337"/>
                </a:cxn>
                <a:cxn ang="0">
                  <a:pos x="353" y="302"/>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grpSp>
          <p:nvGrpSpPr>
            <p:cNvPr id="187" name="Group 453"/>
            <p:cNvGrpSpPr>
              <a:grpSpLocks/>
            </p:cNvGrpSpPr>
            <p:nvPr/>
          </p:nvGrpSpPr>
          <p:grpSpPr bwMode="auto">
            <a:xfrm>
              <a:off x="4292600" y="2466652"/>
              <a:ext cx="250825" cy="368300"/>
              <a:chOff x="2201" y="1250"/>
              <a:chExt cx="133" cy="193"/>
            </a:xfrm>
            <a:grpFill/>
          </p:grpSpPr>
          <p:sp>
            <p:nvSpPr>
              <p:cNvPr id="232" name="Freeform 454"/>
              <p:cNvSpPr>
                <a:spLocks/>
              </p:cNvSpPr>
              <p:nvPr/>
            </p:nvSpPr>
            <p:spPr bwMode="auto">
              <a:xfrm>
                <a:off x="2234" y="1250"/>
                <a:ext cx="100" cy="193"/>
              </a:xfrm>
              <a:custGeom>
                <a:avLst/>
                <a:gdLst/>
                <a:ahLst/>
                <a:cxnLst>
                  <a:cxn ang="0">
                    <a:pos x="6" y="35"/>
                  </a:cxn>
                  <a:cxn ang="0">
                    <a:pos x="4" y="33"/>
                  </a:cxn>
                  <a:cxn ang="0">
                    <a:pos x="10" y="29"/>
                  </a:cxn>
                  <a:cxn ang="0">
                    <a:pos x="9" y="25"/>
                  </a:cxn>
                  <a:cxn ang="0">
                    <a:pos x="8" y="22"/>
                  </a:cxn>
                  <a:cxn ang="0">
                    <a:pos x="3" y="22"/>
                  </a:cxn>
                  <a:cxn ang="0">
                    <a:pos x="4" y="16"/>
                  </a:cxn>
                  <a:cxn ang="0">
                    <a:pos x="1" y="18"/>
                  </a:cxn>
                  <a:cxn ang="0">
                    <a:pos x="0" y="13"/>
                  </a:cxn>
                  <a:cxn ang="0">
                    <a:pos x="0" y="8"/>
                  </a:cxn>
                  <a:cxn ang="0">
                    <a:pos x="1" y="4"/>
                  </a:cxn>
                  <a:cxn ang="0">
                    <a:pos x="5" y="0"/>
                  </a:cxn>
                  <a:cxn ang="0">
                    <a:pos x="8" y="1"/>
                  </a:cxn>
                  <a:cxn ang="0">
                    <a:pos x="7" y="6"/>
                  </a:cxn>
                  <a:cxn ang="0">
                    <a:pos x="13" y="6"/>
                  </a:cxn>
                  <a:cxn ang="0">
                    <a:pos x="11" y="11"/>
                  </a:cxn>
                  <a:cxn ang="0">
                    <a:pos x="9" y="15"/>
                  </a:cxn>
                  <a:cxn ang="0">
                    <a:pos x="13" y="17"/>
                  </a:cxn>
                  <a:cxn ang="0">
                    <a:pos x="17" y="24"/>
                  </a:cxn>
                  <a:cxn ang="0">
                    <a:pos x="19" y="29"/>
                  </a:cxn>
                  <a:cxn ang="0">
                    <a:pos x="19" y="32"/>
                  </a:cxn>
                  <a:cxn ang="0">
                    <a:pos x="23" y="32"/>
                  </a:cxn>
                  <a:cxn ang="0">
                    <a:pos x="22" y="39"/>
                  </a:cxn>
                  <a:cxn ang="0">
                    <a:pos x="24" y="40"/>
                  </a:cxn>
                  <a:cxn ang="0">
                    <a:pos x="17" y="43"/>
                  </a:cxn>
                  <a:cxn ang="0">
                    <a:pos x="11" y="44"/>
                  </a:cxn>
                  <a:cxn ang="0">
                    <a:pos x="8" y="45"/>
                  </a:cxn>
                  <a:cxn ang="0">
                    <a:pos x="4" y="45"/>
                  </a:cxn>
                  <a:cxn ang="0">
                    <a:pos x="1" y="46"/>
                  </a:cxn>
                  <a:cxn ang="0">
                    <a:pos x="5" y="42"/>
                  </a:cxn>
                  <a:cxn ang="0">
                    <a:pos x="6" y="38"/>
                  </a:cxn>
                  <a:cxn ang="0">
                    <a:pos x="3" y="37"/>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33" name="Freeform 455"/>
              <p:cNvSpPr>
                <a:spLocks/>
              </p:cNvSpPr>
              <p:nvPr/>
            </p:nvSpPr>
            <p:spPr bwMode="auto">
              <a:xfrm>
                <a:off x="2201" y="1331"/>
                <a:ext cx="34" cy="22"/>
              </a:xfrm>
              <a:custGeom>
                <a:avLst/>
                <a:gdLst/>
                <a:ahLst/>
                <a:cxnLst>
                  <a:cxn ang="0">
                    <a:pos x="24" y="22"/>
                  </a:cxn>
                  <a:cxn ang="0">
                    <a:pos x="0" y="18"/>
                  </a:cxn>
                  <a:cxn ang="0">
                    <a:pos x="13" y="0"/>
                  </a:cxn>
                  <a:cxn ang="0">
                    <a:pos x="27" y="3"/>
                  </a:cxn>
                  <a:cxn ang="0">
                    <a:pos x="34" y="15"/>
                  </a:cxn>
                  <a:cxn ang="0">
                    <a:pos x="24" y="22"/>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grpSp>
        <p:sp>
          <p:nvSpPr>
            <p:cNvPr id="188" name="Freeform 457"/>
            <p:cNvSpPr>
              <a:spLocks/>
            </p:cNvSpPr>
            <p:nvPr/>
          </p:nvSpPr>
          <p:spPr bwMode="auto">
            <a:xfrm>
              <a:off x="4832350" y="2944490"/>
              <a:ext cx="68263" cy="47625"/>
            </a:xfrm>
            <a:custGeom>
              <a:avLst/>
              <a:gdLst/>
              <a:ahLst/>
              <a:cxnLst>
                <a:cxn ang="0">
                  <a:pos x="3" y="33"/>
                </a:cxn>
                <a:cxn ang="0">
                  <a:pos x="6" y="33"/>
                </a:cxn>
                <a:cxn ang="0">
                  <a:pos x="9" y="32"/>
                </a:cxn>
                <a:cxn ang="0">
                  <a:pos x="13" y="33"/>
                </a:cxn>
                <a:cxn ang="0">
                  <a:pos x="17" y="28"/>
                </a:cxn>
                <a:cxn ang="0">
                  <a:pos x="20" y="34"/>
                </a:cxn>
                <a:cxn ang="0">
                  <a:pos x="21" y="32"/>
                </a:cxn>
                <a:cxn ang="0">
                  <a:pos x="25" y="34"/>
                </a:cxn>
                <a:cxn ang="0">
                  <a:pos x="27" y="33"/>
                </a:cxn>
                <a:cxn ang="0">
                  <a:pos x="26" y="30"/>
                </a:cxn>
                <a:cxn ang="0">
                  <a:pos x="28" y="29"/>
                </a:cxn>
                <a:cxn ang="0">
                  <a:pos x="26" y="28"/>
                </a:cxn>
                <a:cxn ang="0">
                  <a:pos x="29" y="25"/>
                </a:cxn>
                <a:cxn ang="0">
                  <a:pos x="31" y="25"/>
                </a:cxn>
                <a:cxn ang="0">
                  <a:pos x="32" y="25"/>
                </a:cxn>
                <a:cxn ang="0">
                  <a:pos x="32" y="20"/>
                </a:cxn>
                <a:cxn ang="0">
                  <a:pos x="30" y="19"/>
                </a:cxn>
                <a:cxn ang="0">
                  <a:pos x="31" y="16"/>
                </a:cxn>
                <a:cxn ang="0">
                  <a:pos x="33" y="16"/>
                </a:cxn>
                <a:cxn ang="0">
                  <a:pos x="37" y="13"/>
                </a:cxn>
                <a:cxn ang="0">
                  <a:pos x="38" y="12"/>
                </a:cxn>
                <a:cxn ang="0">
                  <a:pos x="40" y="13"/>
                </a:cxn>
                <a:cxn ang="0">
                  <a:pos x="39" y="10"/>
                </a:cxn>
                <a:cxn ang="0">
                  <a:pos x="41" y="9"/>
                </a:cxn>
                <a:cxn ang="0">
                  <a:pos x="44" y="11"/>
                </a:cxn>
                <a:cxn ang="0">
                  <a:pos x="42" y="7"/>
                </a:cxn>
                <a:cxn ang="0">
                  <a:pos x="41" y="5"/>
                </a:cxn>
                <a:cxn ang="0">
                  <a:pos x="40" y="2"/>
                </a:cxn>
                <a:cxn ang="0">
                  <a:pos x="38" y="0"/>
                </a:cxn>
                <a:cxn ang="0">
                  <a:pos x="36" y="3"/>
                </a:cxn>
                <a:cxn ang="0">
                  <a:pos x="36" y="6"/>
                </a:cxn>
                <a:cxn ang="0">
                  <a:pos x="34" y="5"/>
                </a:cxn>
                <a:cxn ang="0">
                  <a:pos x="33" y="5"/>
                </a:cxn>
                <a:cxn ang="0">
                  <a:pos x="31" y="6"/>
                </a:cxn>
                <a:cxn ang="0">
                  <a:pos x="30" y="6"/>
                </a:cxn>
                <a:cxn ang="0">
                  <a:pos x="29" y="7"/>
                </a:cxn>
                <a:cxn ang="0">
                  <a:pos x="28" y="7"/>
                </a:cxn>
                <a:cxn ang="0">
                  <a:pos x="28" y="7"/>
                </a:cxn>
                <a:cxn ang="0">
                  <a:pos x="25" y="7"/>
                </a:cxn>
                <a:cxn ang="0">
                  <a:pos x="23" y="7"/>
                </a:cxn>
                <a:cxn ang="0">
                  <a:pos x="22" y="7"/>
                </a:cxn>
                <a:cxn ang="0">
                  <a:pos x="21" y="7"/>
                </a:cxn>
                <a:cxn ang="0">
                  <a:pos x="21" y="7"/>
                </a:cxn>
                <a:cxn ang="0">
                  <a:pos x="17" y="11"/>
                </a:cxn>
                <a:cxn ang="0">
                  <a:pos x="16" y="13"/>
                </a:cxn>
                <a:cxn ang="0">
                  <a:pos x="12" y="11"/>
                </a:cxn>
                <a:cxn ang="0">
                  <a:pos x="8" y="10"/>
                </a:cxn>
                <a:cxn ang="0">
                  <a:pos x="5" y="10"/>
                </a:cxn>
                <a:cxn ang="0">
                  <a:pos x="4" y="11"/>
                </a:cxn>
                <a:cxn ang="0">
                  <a:pos x="0" y="15"/>
                </a:cxn>
                <a:cxn ang="0">
                  <a:pos x="1" y="17"/>
                </a:cxn>
                <a:cxn ang="0">
                  <a:pos x="4" y="17"/>
                </a:cxn>
                <a:cxn ang="0">
                  <a:pos x="3" y="19"/>
                </a:cxn>
                <a:cxn ang="0">
                  <a:pos x="1" y="19"/>
                </a:cxn>
                <a:cxn ang="0">
                  <a:pos x="2" y="21"/>
                </a:cxn>
                <a:cxn ang="0">
                  <a:pos x="3" y="22"/>
                </a:cxn>
                <a:cxn ang="0">
                  <a:pos x="2" y="26"/>
                </a:cxn>
                <a:cxn ang="0">
                  <a:pos x="5" y="29"/>
                </a:cxn>
                <a:cxn ang="0">
                  <a:pos x="5" y="31"/>
                </a:cxn>
                <a:cxn ang="0">
                  <a:pos x="3" y="32"/>
                </a:cxn>
                <a:cxn ang="0">
                  <a:pos x="3" y="33"/>
                </a:cxn>
              </a:cxnLst>
              <a:rect l="0" t="0" r="r" b="b"/>
              <a:pathLst>
                <a:path w="44" h="34">
                  <a:moveTo>
                    <a:pt x="3" y="33"/>
                  </a:moveTo>
                  <a:lnTo>
                    <a:pt x="6" y="33"/>
                  </a:lnTo>
                  <a:lnTo>
                    <a:pt x="9" y="32"/>
                  </a:lnTo>
                  <a:lnTo>
                    <a:pt x="13" y="33"/>
                  </a:lnTo>
                  <a:lnTo>
                    <a:pt x="17" y="28"/>
                  </a:lnTo>
                  <a:lnTo>
                    <a:pt x="20" y="34"/>
                  </a:lnTo>
                  <a:lnTo>
                    <a:pt x="21" y="32"/>
                  </a:lnTo>
                  <a:lnTo>
                    <a:pt x="25" y="34"/>
                  </a:lnTo>
                  <a:lnTo>
                    <a:pt x="27" y="33"/>
                  </a:lnTo>
                  <a:lnTo>
                    <a:pt x="26" y="30"/>
                  </a:lnTo>
                  <a:lnTo>
                    <a:pt x="28" y="29"/>
                  </a:lnTo>
                  <a:lnTo>
                    <a:pt x="26" y="28"/>
                  </a:lnTo>
                  <a:lnTo>
                    <a:pt x="29" y="25"/>
                  </a:lnTo>
                  <a:lnTo>
                    <a:pt x="31" y="25"/>
                  </a:lnTo>
                  <a:lnTo>
                    <a:pt x="32" y="25"/>
                  </a:lnTo>
                  <a:lnTo>
                    <a:pt x="32" y="20"/>
                  </a:lnTo>
                  <a:lnTo>
                    <a:pt x="30" y="19"/>
                  </a:lnTo>
                  <a:lnTo>
                    <a:pt x="31" y="16"/>
                  </a:lnTo>
                  <a:lnTo>
                    <a:pt x="33" y="16"/>
                  </a:lnTo>
                  <a:lnTo>
                    <a:pt x="37" y="13"/>
                  </a:lnTo>
                  <a:lnTo>
                    <a:pt x="38" y="12"/>
                  </a:lnTo>
                  <a:lnTo>
                    <a:pt x="40" y="13"/>
                  </a:lnTo>
                  <a:lnTo>
                    <a:pt x="39" y="10"/>
                  </a:lnTo>
                  <a:lnTo>
                    <a:pt x="41" y="9"/>
                  </a:lnTo>
                  <a:lnTo>
                    <a:pt x="44" y="11"/>
                  </a:lnTo>
                  <a:lnTo>
                    <a:pt x="42" y="7"/>
                  </a:lnTo>
                  <a:lnTo>
                    <a:pt x="41" y="5"/>
                  </a:lnTo>
                  <a:lnTo>
                    <a:pt x="40" y="2"/>
                  </a:lnTo>
                  <a:lnTo>
                    <a:pt x="38" y="0"/>
                  </a:lnTo>
                  <a:lnTo>
                    <a:pt x="36" y="3"/>
                  </a:lnTo>
                  <a:lnTo>
                    <a:pt x="36" y="6"/>
                  </a:lnTo>
                  <a:lnTo>
                    <a:pt x="34" y="5"/>
                  </a:lnTo>
                  <a:lnTo>
                    <a:pt x="33" y="5"/>
                  </a:lnTo>
                  <a:lnTo>
                    <a:pt x="31" y="6"/>
                  </a:lnTo>
                  <a:lnTo>
                    <a:pt x="30" y="6"/>
                  </a:lnTo>
                  <a:lnTo>
                    <a:pt x="29" y="7"/>
                  </a:lnTo>
                  <a:lnTo>
                    <a:pt x="28" y="7"/>
                  </a:lnTo>
                  <a:lnTo>
                    <a:pt x="28" y="7"/>
                  </a:lnTo>
                  <a:lnTo>
                    <a:pt x="25" y="7"/>
                  </a:lnTo>
                  <a:lnTo>
                    <a:pt x="23" y="7"/>
                  </a:lnTo>
                  <a:lnTo>
                    <a:pt x="22" y="7"/>
                  </a:lnTo>
                  <a:lnTo>
                    <a:pt x="21" y="7"/>
                  </a:lnTo>
                  <a:lnTo>
                    <a:pt x="21" y="7"/>
                  </a:lnTo>
                  <a:lnTo>
                    <a:pt x="17" y="11"/>
                  </a:lnTo>
                  <a:lnTo>
                    <a:pt x="16" y="13"/>
                  </a:lnTo>
                  <a:lnTo>
                    <a:pt x="12" y="11"/>
                  </a:lnTo>
                  <a:lnTo>
                    <a:pt x="8" y="10"/>
                  </a:lnTo>
                  <a:lnTo>
                    <a:pt x="5" y="10"/>
                  </a:lnTo>
                  <a:lnTo>
                    <a:pt x="4" y="11"/>
                  </a:lnTo>
                  <a:lnTo>
                    <a:pt x="0" y="15"/>
                  </a:lnTo>
                  <a:lnTo>
                    <a:pt x="1" y="17"/>
                  </a:lnTo>
                  <a:lnTo>
                    <a:pt x="4" y="17"/>
                  </a:lnTo>
                  <a:lnTo>
                    <a:pt x="3" y="19"/>
                  </a:lnTo>
                  <a:lnTo>
                    <a:pt x="1" y="19"/>
                  </a:lnTo>
                  <a:lnTo>
                    <a:pt x="2" y="21"/>
                  </a:lnTo>
                  <a:lnTo>
                    <a:pt x="3" y="22"/>
                  </a:lnTo>
                  <a:lnTo>
                    <a:pt x="2" y="26"/>
                  </a:lnTo>
                  <a:lnTo>
                    <a:pt x="5" y="29"/>
                  </a:lnTo>
                  <a:lnTo>
                    <a:pt x="5" y="31"/>
                  </a:lnTo>
                  <a:lnTo>
                    <a:pt x="3" y="32"/>
                  </a:lnTo>
                  <a:lnTo>
                    <a:pt x="3" y="33"/>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89" name="Freeform 458"/>
            <p:cNvSpPr>
              <a:spLocks/>
            </p:cNvSpPr>
            <p:nvPr/>
          </p:nvSpPr>
          <p:spPr bwMode="auto">
            <a:xfrm>
              <a:off x="5275263" y="3315965"/>
              <a:ext cx="73025" cy="44450"/>
            </a:xfrm>
            <a:custGeom>
              <a:avLst/>
              <a:gdLst/>
              <a:ahLst/>
              <a:cxnLst>
                <a:cxn ang="0">
                  <a:pos x="0" y="15"/>
                </a:cxn>
                <a:cxn ang="0">
                  <a:pos x="3" y="17"/>
                </a:cxn>
                <a:cxn ang="0">
                  <a:pos x="12" y="14"/>
                </a:cxn>
                <a:cxn ang="0">
                  <a:pos x="13" y="8"/>
                </a:cxn>
                <a:cxn ang="0">
                  <a:pos x="27" y="9"/>
                </a:cxn>
                <a:cxn ang="0">
                  <a:pos x="46" y="0"/>
                </a:cxn>
                <a:cxn ang="0">
                  <a:pos x="46" y="1"/>
                </a:cxn>
                <a:cxn ang="0">
                  <a:pos x="33" y="11"/>
                </a:cxn>
                <a:cxn ang="0">
                  <a:pos x="36" y="18"/>
                </a:cxn>
                <a:cxn ang="0">
                  <a:pos x="27" y="21"/>
                </a:cxn>
                <a:cxn ang="0">
                  <a:pos x="15" y="28"/>
                </a:cxn>
                <a:cxn ang="0">
                  <a:pos x="13" y="28"/>
                </a:cxn>
                <a:cxn ang="0">
                  <a:pos x="8" y="26"/>
                </a:cxn>
                <a:cxn ang="0">
                  <a:pos x="2" y="23"/>
                </a:cxn>
                <a:cxn ang="0">
                  <a:pos x="0" y="15"/>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90" name="Freeform 507"/>
            <p:cNvSpPr>
              <a:spLocks/>
            </p:cNvSpPr>
            <p:nvPr/>
          </p:nvSpPr>
          <p:spPr bwMode="auto">
            <a:xfrm>
              <a:off x="6342063" y="2701602"/>
              <a:ext cx="1508125" cy="1047750"/>
            </a:xfrm>
            <a:custGeom>
              <a:avLst/>
              <a:gdLst/>
              <a:ahLst/>
              <a:cxnLst>
                <a:cxn ang="0">
                  <a:pos x="840" y="88"/>
                </a:cxn>
                <a:cxn ang="0">
                  <a:pos x="732" y="24"/>
                </a:cxn>
                <a:cxn ang="0">
                  <a:pos x="668" y="88"/>
                </a:cxn>
                <a:cxn ang="0">
                  <a:pos x="668" y="88"/>
                </a:cxn>
                <a:cxn ang="0">
                  <a:pos x="670" y="90"/>
                </a:cxn>
                <a:cxn ang="0">
                  <a:pos x="672" y="92"/>
                </a:cxn>
                <a:cxn ang="0">
                  <a:pos x="676" y="92"/>
                </a:cxn>
                <a:cxn ang="0">
                  <a:pos x="676" y="94"/>
                </a:cxn>
                <a:cxn ang="0">
                  <a:pos x="678" y="94"/>
                </a:cxn>
                <a:cxn ang="0">
                  <a:pos x="678" y="94"/>
                </a:cxn>
                <a:cxn ang="0">
                  <a:pos x="676" y="92"/>
                </a:cxn>
                <a:cxn ang="0">
                  <a:pos x="674" y="92"/>
                </a:cxn>
                <a:cxn ang="0">
                  <a:pos x="672" y="90"/>
                </a:cxn>
                <a:cxn ang="0">
                  <a:pos x="668" y="90"/>
                </a:cxn>
                <a:cxn ang="0">
                  <a:pos x="668" y="88"/>
                </a:cxn>
                <a:cxn ang="0">
                  <a:pos x="658" y="108"/>
                </a:cxn>
                <a:cxn ang="0">
                  <a:pos x="712" y="158"/>
                </a:cxn>
                <a:cxn ang="0">
                  <a:pos x="598" y="202"/>
                </a:cxn>
                <a:cxn ang="0">
                  <a:pos x="480" y="276"/>
                </a:cxn>
                <a:cxn ang="0">
                  <a:pos x="326" y="202"/>
                </a:cxn>
                <a:cxn ang="0">
                  <a:pos x="226" y="118"/>
                </a:cxn>
                <a:cxn ang="0">
                  <a:pos x="222" y="114"/>
                </a:cxn>
                <a:cxn ang="0">
                  <a:pos x="220" y="116"/>
                </a:cxn>
                <a:cxn ang="0">
                  <a:pos x="218" y="122"/>
                </a:cxn>
                <a:cxn ang="0">
                  <a:pos x="218" y="122"/>
                </a:cxn>
                <a:cxn ang="0">
                  <a:pos x="218" y="122"/>
                </a:cxn>
                <a:cxn ang="0">
                  <a:pos x="222" y="114"/>
                </a:cxn>
                <a:cxn ang="0">
                  <a:pos x="218" y="108"/>
                </a:cxn>
                <a:cxn ang="0">
                  <a:pos x="208" y="114"/>
                </a:cxn>
                <a:cxn ang="0">
                  <a:pos x="142" y="142"/>
                </a:cxn>
                <a:cxn ang="0">
                  <a:pos x="88" y="256"/>
                </a:cxn>
                <a:cxn ang="0">
                  <a:pos x="4" y="306"/>
                </a:cxn>
                <a:cxn ang="0">
                  <a:pos x="14" y="350"/>
                </a:cxn>
                <a:cxn ang="0">
                  <a:pos x="30" y="370"/>
                </a:cxn>
                <a:cxn ang="0">
                  <a:pos x="94" y="390"/>
                </a:cxn>
                <a:cxn ang="0">
                  <a:pos x="84" y="444"/>
                </a:cxn>
                <a:cxn ang="0">
                  <a:pos x="108" y="488"/>
                </a:cxn>
                <a:cxn ang="0">
                  <a:pos x="148" y="508"/>
                </a:cxn>
                <a:cxn ang="0">
                  <a:pos x="218" y="536"/>
                </a:cxn>
                <a:cxn ang="0">
                  <a:pos x="262" y="546"/>
                </a:cxn>
                <a:cxn ang="0">
                  <a:pos x="316" y="512"/>
                </a:cxn>
                <a:cxn ang="0">
                  <a:pos x="370" y="528"/>
                </a:cxn>
                <a:cxn ang="0">
                  <a:pos x="376" y="586"/>
                </a:cxn>
                <a:cxn ang="0">
                  <a:pos x="400" y="616"/>
                </a:cxn>
                <a:cxn ang="0">
                  <a:pos x="420" y="640"/>
                </a:cxn>
                <a:cxn ang="0">
                  <a:pos x="500" y="616"/>
                </a:cxn>
                <a:cxn ang="0">
                  <a:pos x="534" y="640"/>
                </a:cxn>
                <a:cxn ang="0">
                  <a:pos x="608" y="630"/>
                </a:cxn>
                <a:cxn ang="0">
                  <a:pos x="632" y="626"/>
                </a:cxn>
                <a:cxn ang="0">
                  <a:pos x="702" y="582"/>
                </a:cxn>
                <a:cxn ang="0">
                  <a:pos x="742" y="512"/>
                </a:cxn>
                <a:cxn ang="0">
                  <a:pos x="742" y="472"/>
                </a:cxn>
                <a:cxn ang="0">
                  <a:pos x="716" y="398"/>
                </a:cxn>
                <a:cxn ang="0">
                  <a:pos x="752" y="360"/>
                </a:cxn>
                <a:cxn ang="0">
                  <a:pos x="702" y="354"/>
                </a:cxn>
                <a:cxn ang="0">
                  <a:pos x="706" y="320"/>
                </a:cxn>
                <a:cxn ang="0">
                  <a:pos x="756" y="290"/>
                </a:cxn>
                <a:cxn ang="0">
                  <a:pos x="762" y="316"/>
                </a:cxn>
                <a:cxn ang="0">
                  <a:pos x="818" y="262"/>
                </a:cxn>
                <a:cxn ang="0">
                  <a:pos x="890" y="252"/>
                </a:cxn>
                <a:cxn ang="0">
                  <a:pos x="950" y="118"/>
                </a:cxn>
              </a:cxnLst>
              <a:rect l="0" t="0" r="r" b="b"/>
              <a:pathLst>
                <a:path w="950" h="660">
                  <a:moveTo>
                    <a:pt x="890" y="118"/>
                  </a:moveTo>
                  <a:lnTo>
                    <a:pt x="890" y="118"/>
                  </a:lnTo>
                  <a:lnTo>
                    <a:pt x="880" y="98"/>
                  </a:lnTo>
                  <a:lnTo>
                    <a:pt x="880" y="98"/>
                  </a:lnTo>
                  <a:lnTo>
                    <a:pt x="840" y="88"/>
                  </a:lnTo>
                  <a:lnTo>
                    <a:pt x="840" y="88"/>
                  </a:lnTo>
                  <a:lnTo>
                    <a:pt x="792" y="0"/>
                  </a:lnTo>
                  <a:lnTo>
                    <a:pt x="792" y="0"/>
                  </a:lnTo>
                  <a:lnTo>
                    <a:pt x="746" y="0"/>
                  </a:lnTo>
                  <a:lnTo>
                    <a:pt x="746" y="0"/>
                  </a:lnTo>
                  <a:lnTo>
                    <a:pt x="732" y="24"/>
                  </a:lnTo>
                  <a:lnTo>
                    <a:pt x="732" y="24"/>
                  </a:lnTo>
                  <a:lnTo>
                    <a:pt x="702" y="78"/>
                  </a:lnTo>
                  <a:lnTo>
                    <a:pt x="702" y="78"/>
                  </a:lnTo>
                  <a:lnTo>
                    <a:pt x="672" y="78"/>
                  </a:lnTo>
                  <a:lnTo>
                    <a:pt x="672" y="78"/>
                  </a:lnTo>
                  <a:lnTo>
                    <a:pt x="668" y="88"/>
                  </a:lnTo>
                  <a:lnTo>
                    <a:pt x="668" y="88"/>
                  </a:lnTo>
                  <a:lnTo>
                    <a:pt x="668" y="88"/>
                  </a:lnTo>
                  <a:lnTo>
                    <a:pt x="668" y="88"/>
                  </a:lnTo>
                  <a:lnTo>
                    <a:pt x="668" y="88"/>
                  </a:lnTo>
                  <a:lnTo>
                    <a:pt x="668" y="88"/>
                  </a:lnTo>
                  <a:lnTo>
                    <a:pt x="668" y="88"/>
                  </a:lnTo>
                  <a:lnTo>
                    <a:pt x="668" y="88"/>
                  </a:lnTo>
                  <a:lnTo>
                    <a:pt x="668" y="88"/>
                  </a:lnTo>
                  <a:lnTo>
                    <a:pt x="668" y="88"/>
                  </a:lnTo>
                  <a:lnTo>
                    <a:pt x="668" y="90"/>
                  </a:lnTo>
                  <a:lnTo>
                    <a:pt x="668" y="90"/>
                  </a:lnTo>
                  <a:lnTo>
                    <a:pt x="670" y="90"/>
                  </a:lnTo>
                  <a:lnTo>
                    <a:pt x="670" y="90"/>
                  </a:lnTo>
                  <a:lnTo>
                    <a:pt x="670" y="90"/>
                  </a:lnTo>
                  <a:lnTo>
                    <a:pt x="670" y="90"/>
                  </a:lnTo>
                  <a:lnTo>
                    <a:pt x="672" y="90"/>
                  </a:lnTo>
                  <a:lnTo>
                    <a:pt x="672" y="90"/>
                  </a:lnTo>
                  <a:lnTo>
                    <a:pt x="672" y="92"/>
                  </a:lnTo>
                  <a:lnTo>
                    <a:pt x="672" y="92"/>
                  </a:lnTo>
                  <a:lnTo>
                    <a:pt x="674" y="92"/>
                  </a:lnTo>
                  <a:lnTo>
                    <a:pt x="674" y="92"/>
                  </a:lnTo>
                  <a:lnTo>
                    <a:pt x="674" y="92"/>
                  </a:lnTo>
                  <a:lnTo>
                    <a:pt x="674" y="92"/>
                  </a:lnTo>
                  <a:lnTo>
                    <a:pt x="676" y="92"/>
                  </a:lnTo>
                  <a:lnTo>
                    <a:pt x="676" y="92"/>
                  </a:lnTo>
                  <a:lnTo>
                    <a:pt x="676" y="92"/>
                  </a:lnTo>
                  <a:lnTo>
                    <a:pt x="676" y="92"/>
                  </a:lnTo>
                  <a:lnTo>
                    <a:pt x="676" y="92"/>
                  </a:lnTo>
                  <a:lnTo>
                    <a:pt x="676" y="92"/>
                  </a:lnTo>
                  <a:lnTo>
                    <a:pt x="676" y="94"/>
                  </a:lnTo>
                  <a:lnTo>
                    <a:pt x="676" y="94"/>
                  </a:lnTo>
                  <a:lnTo>
                    <a:pt x="676" y="94"/>
                  </a:lnTo>
                  <a:lnTo>
                    <a:pt x="676" y="94"/>
                  </a:lnTo>
                  <a:lnTo>
                    <a:pt x="678" y="94"/>
                  </a:lnTo>
                  <a:lnTo>
                    <a:pt x="678" y="94"/>
                  </a:lnTo>
                  <a:lnTo>
                    <a:pt x="678" y="94"/>
                  </a:lnTo>
                  <a:lnTo>
                    <a:pt x="678" y="94"/>
                  </a:lnTo>
                  <a:lnTo>
                    <a:pt x="678" y="94"/>
                  </a:lnTo>
                  <a:lnTo>
                    <a:pt x="678" y="94"/>
                  </a:lnTo>
                  <a:lnTo>
                    <a:pt x="678" y="94"/>
                  </a:lnTo>
                  <a:lnTo>
                    <a:pt x="678" y="94"/>
                  </a:lnTo>
                  <a:lnTo>
                    <a:pt x="678" y="94"/>
                  </a:lnTo>
                  <a:lnTo>
                    <a:pt x="678" y="94"/>
                  </a:lnTo>
                  <a:lnTo>
                    <a:pt x="676" y="94"/>
                  </a:lnTo>
                  <a:lnTo>
                    <a:pt x="676" y="94"/>
                  </a:lnTo>
                  <a:lnTo>
                    <a:pt x="676" y="94"/>
                  </a:lnTo>
                  <a:lnTo>
                    <a:pt x="676" y="94"/>
                  </a:lnTo>
                  <a:lnTo>
                    <a:pt x="676" y="92"/>
                  </a:lnTo>
                  <a:lnTo>
                    <a:pt x="676" y="92"/>
                  </a:lnTo>
                  <a:lnTo>
                    <a:pt x="676" y="92"/>
                  </a:lnTo>
                  <a:lnTo>
                    <a:pt x="676" y="92"/>
                  </a:lnTo>
                  <a:lnTo>
                    <a:pt x="676" y="92"/>
                  </a:lnTo>
                  <a:lnTo>
                    <a:pt x="676" y="92"/>
                  </a:lnTo>
                  <a:lnTo>
                    <a:pt x="674" y="92"/>
                  </a:lnTo>
                  <a:lnTo>
                    <a:pt x="674" y="92"/>
                  </a:lnTo>
                  <a:lnTo>
                    <a:pt x="674" y="92"/>
                  </a:lnTo>
                  <a:lnTo>
                    <a:pt x="674" y="92"/>
                  </a:lnTo>
                  <a:lnTo>
                    <a:pt x="672" y="92"/>
                  </a:lnTo>
                  <a:lnTo>
                    <a:pt x="672" y="92"/>
                  </a:lnTo>
                  <a:lnTo>
                    <a:pt x="672" y="90"/>
                  </a:lnTo>
                  <a:lnTo>
                    <a:pt x="672" y="90"/>
                  </a:lnTo>
                  <a:lnTo>
                    <a:pt x="670" y="90"/>
                  </a:lnTo>
                  <a:lnTo>
                    <a:pt x="670" y="90"/>
                  </a:lnTo>
                  <a:lnTo>
                    <a:pt x="670" y="90"/>
                  </a:lnTo>
                  <a:lnTo>
                    <a:pt x="670" y="90"/>
                  </a:lnTo>
                  <a:lnTo>
                    <a:pt x="668" y="90"/>
                  </a:lnTo>
                  <a:lnTo>
                    <a:pt x="668" y="90"/>
                  </a:lnTo>
                  <a:lnTo>
                    <a:pt x="668" y="88"/>
                  </a:lnTo>
                  <a:lnTo>
                    <a:pt x="668" y="88"/>
                  </a:lnTo>
                  <a:lnTo>
                    <a:pt x="668" y="88"/>
                  </a:lnTo>
                  <a:lnTo>
                    <a:pt x="668" y="88"/>
                  </a:lnTo>
                  <a:lnTo>
                    <a:pt x="668" y="88"/>
                  </a:lnTo>
                  <a:lnTo>
                    <a:pt x="668" y="88"/>
                  </a:lnTo>
                  <a:lnTo>
                    <a:pt x="668" y="88"/>
                  </a:lnTo>
                  <a:lnTo>
                    <a:pt x="668" y="88"/>
                  </a:lnTo>
                  <a:lnTo>
                    <a:pt x="668" y="88"/>
                  </a:lnTo>
                  <a:lnTo>
                    <a:pt x="668" y="88"/>
                  </a:lnTo>
                  <a:lnTo>
                    <a:pt x="658" y="108"/>
                  </a:lnTo>
                  <a:lnTo>
                    <a:pt x="658" y="108"/>
                  </a:lnTo>
                  <a:lnTo>
                    <a:pt x="658" y="132"/>
                  </a:lnTo>
                  <a:lnTo>
                    <a:pt x="658" y="132"/>
                  </a:lnTo>
                  <a:lnTo>
                    <a:pt x="702" y="138"/>
                  </a:lnTo>
                  <a:lnTo>
                    <a:pt x="702" y="138"/>
                  </a:lnTo>
                  <a:lnTo>
                    <a:pt x="712" y="158"/>
                  </a:lnTo>
                  <a:lnTo>
                    <a:pt x="712" y="158"/>
                  </a:lnTo>
                  <a:lnTo>
                    <a:pt x="668" y="172"/>
                  </a:lnTo>
                  <a:lnTo>
                    <a:pt x="668" y="172"/>
                  </a:lnTo>
                  <a:lnTo>
                    <a:pt x="632" y="188"/>
                  </a:lnTo>
                  <a:lnTo>
                    <a:pt x="632" y="188"/>
                  </a:lnTo>
                  <a:lnTo>
                    <a:pt x="598" y="202"/>
                  </a:lnTo>
                  <a:lnTo>
                    <a:pt x="598" y="202"/>
                  </a:lnTo>
                  <a:lnTo>
                    <a:pt x="588" y="236"/>
                  </a:lnTo>
                  <a:lnTo>
                    <a:pt x="588" y="236"/>
                  </a:lnTo>
                  <a:lnTo>
                    <a:pt x="534" y="242"/>
                  </a:lnTo>
                  <a:lnTo>
                    <a:pt x="534" y="242"/>
                  </a:lnTo>
                  <a:lnTo>
                    <a:pt x="480" y="276"/>
                  </a:lnTo>
                  <a:lnTo>
                    <a:pt x="480" y="276"/>
                  </a:lnTo>
                  <a:lnTo>
                    <a:pt x="430" y="252"/>
                  </a:lnTo>
                  <a:lnTo>
                    <a:pt x="430" y="252"/>
                  </a:lnTo>
                  <a:lnTo>
                    <a:pt x="370" y="246"/>
                  </a:lnTo>
                  <a:lnTo>
                    <a:pt x="370" y="246"/>
                  </a:lnTo>
                  <a:lnTo>
                    <a:pt x="326" y="202"/>
                  </a:lnTo>
                  <a:lnTo>
                    <a:pt x="326" y="202"/>
                  </a:lnTo>
                  <a:lnTo>
                    <a:pt x="262" y="182"/>
                  </a:lnTo>
                  <a:lnTo>
                    <a:pt x="262" y="182"/>
                  </a:lnTo>
                  <a:lnTo>
                    <a:pt x="256" y="132"/>
                  </a:lnTo>
                  <a:lnTo>
                    <a:pt x="256" y="132"/>
                  </a:lnTo>
                  <a:lnTo>
                    <a:pt x="226" y="118"/>
                  </a:lnTo>
                  <a:lnTo>
                    <a:pt x="226" y="118"/>
                  </a:lnTo>
                  <a:lnTo>
                    <a:pt x="222" y="114"/>
                  </a:lnTo>
                  <a:lnTo>
                    <a:pt x="222" y="114"/>
                  </a:lnTo>
                  <a:lnTo>
                    <a:pt x="222" y="114"/>
                  </a:lnTo>
                  <a:lnTo>
                    <a:pt x="222" y="114"/>
                  </a:lnTo>
                  <a:lnTo>
                    <a:pt x="222" y="114"/>
                  </a:lnTo>
                  <a:lnTo>
                    <a:pt x="222" y="114"/>
                  </a:lnTo>
                  <a:lnTo>
                    <a:pt x="222" y="114"/>
                  </a:lnTo>
                  <a:lnTo>
                    <a:pt x="222" y="114"/>
                  </a:lnTo>
                  <a:lnTo>
                    <a:pt x="222" y="114"/>
                  </a:lnTo>
                  <a:lnTo>
                    <a:pt x="222" y="114"/>
                  </a:lnTo>
                  <a:lnTo>
                    <a:pt x="220" y="116"/>
                  </a:lnTo>
                  <a:lnTo>
                    <a:pt x="220" y="116"/>
                  </a:lnTo>
                  <a:lnTo>
                    <a:pt x="218" y="120"/>
                  </a:lnTo>
                  <a:lnTo>
                    <a:pt x="218" y="120"/>
                  </a:lnTo>
                  <a:lnTo>
                    <a:pt x="218" y="122"/>
                  </a:lnTo>
                  <a:lnTo>
                    <a:pt x="218" y="122"/>
                  </a:lnTo>
                  <a:lnTo>
                    <a:pt x="218" y="122"/>
                  </a:lnTo>
                  <a:lnTo>
                    <a:pt x="218" y="122"/>
                  </a:lnTo>
                  <a:lnTo>
                    <a:pt x="218" y="122"/>
                  </a:lnTo>
                  <a:lnTo>
                    <a:pt x="218" y="122"/>
                  </a:lnTo>
                  <a:lnTo>
                    <a:pt x="218" y="124"/>
                  </a:lnTo>
                  <a:lnTo>
                    <a:pt x="218" y="124"/>
                  </a:lnTo>
                  <a:lnTo>
                    <a:pt x="218" y="122"/>
                  </a:lnTo>
                  <a:lnTo>
                    <a:pt x="218" y="122"/>
                  </a:lnTo>
                  <a:lnTo>
                    <a:pt x="218" y="122"/>
                  </a:lnTo>
                  <a:lnTo>
                    <a:pt x="218" y="122"/>
                  </a:lnTo>
                  <a:lnTo>
                    <a:pt x="218" y="122"/>
                  </a:lnTo>
                  <a:lnTo>
                    <a:pt x="218" y="122"/>
                  </a:lnTo>
                  <a:lnTo>
                    <a:pt x="218" y="122"/>
                  </a:lnTo>
                  <a:lnTo>
                    <a:pt x="218" y="122"/>
                  </a:lnTo>
                  <a:lnTo>
                    <a:pt x="218" y="120"/>
                  </a:lnTo>
                  <a:lnTo>
                    <a:pt x="218" y="120"/>
                  </a:lnTo>
                  <a:lnTo>
                    <a:pt x="222" y="114"/>
                  </a:lnTo>
                  <a:lnTo>
                    <a:pt x="222" y="114"/>
                  </a:lnTo>
                  <a:lnTo>
                    <a:pt x="222" y="114"/>
                  </a:lnTo>
                  <a:lnTo>
                    <a:pt x="222" y="114"/>
                  </a:lnTo>
                  <a:lnTo>
                    <a:pt x="222" y="114"/>
                  </a:lnTo>
                  <a:lnTo>
                    <a:pt x="222" y="114"/>
                  </a:lnTo>
                  <a:lnTo>
                    <a:pt x="222" y="114"/>
                  </a:lnTo>
                  <a:lnTo>
                    <a:pt x="222" y="114"/>
                  </a:lnTo>
                  <a:lnTo>
                    <a:pt x="218" y="108"/>
                  </a:lnTo>
                  <a:lnTo>
                    <a:pt x="218" y="108"/>
                  </a:lnTo>
                  <a:lnTo>
                    <a:pt x="208" y="114"/>
                  </a:lnTo>
                  <a:lnTo>
                    <a:pt x="208" y="114"/>
                  </a:lnTo>
                  <a:lnTo>
                    <a:pt x="208" y="124"/>
                  </a:lnTo>
                  <a:lnTo>
                    <a:pt x="208" y="124"/>
                  </a:lnTo>
                  <a:lnTo>
                    <a:pt x="208" y="114"/>
                  </a:lnTo>
                  <a:lnTo>
                    <a:pt x="208" y="114"/>
                  </a:lnTo>
                  <a:lnTo>
                    <a:pt x="192" y="118"/>
                  </a:lnTo>
                  <a:lnTo>
                    <a:pt x="192" y="118"/>
                  </a:lnTo>
                  <a:lnTo>
                    <a:pt x="182" y="148"/>
                  </a:lnTo>
                  <a:lnTo>
                    <a:pt x="182" y="148"/>
                  </a:lnTo>
                  <a:lnTo>
                    <a:pt x="142" y="142"/>
                  </a:lnTo>
                  <a:lnTo>
                    <a:pt x="142" y="142"/>
                  </a:lnTo>
                  <a:lnTo>
                    <a:pt x="132" y="192"/>
                  </a:lnTo>
                  <a:lnTo>
                    <a:pt x="132" y="192"/>
                  </a:lnTo>
                  <a:lnTo>
                    <a:pt x="98" y="198"/>
                  </a:lnTo>
                  <a:lnTo>
                    <a:pt x="98" y="198"/>
                  </a:lnTo>
                  <a:lnTo>
                    <a:pt x="88" y="256"/>
                  </a:lnTo>
                  <a:lnTo>
                    <a:pt x="88" y="256"/>
                  </a:lnTo>
                  <a:lnTo>
                    <a:pt x="68" y="276"/>
                  </a:lnTo>
                  <a:lnTo>
                    <a:pt x="68" y="276"/>
                  </a:lnTo>
                  <a:lnTo>
                    <a:pt x="44" y="296"/>
                  </a:lnTo>
                  <a:lnTo>
                    <a:pt x="44" y="296"/>
                  </a:lnTo>
                  <a:lnTo>
                    <a:pt x="4" y="306"/>
                  </a:lnTo>
                  <a:lnTo>
                    <a:pt x="4" y="306"/>
                  </a:lnTo>
                  <a:lnTo>
                    <a:pt x="0" y="326"/>
                  </a:lnTo>
                  <a:lnTo>
                    <a:pt x="0" y="326"/>
                  </a:lnTo>
                  <a:lnTo>
                    <a:pt x="10" y="334"/>
                  </a:lnTo>
                  <a:lnTo>
                    <a:pt x="10" y="334"/>
                  </a:lnTo>
                  <a:lnTo>
                    <a:pt x="14" y="350"/>
                  </a:lnTo>
                  <a:lnTo>
                    <a:pt x="14" y="350"/>
                  </a:lnTo>
                  <a:lnTo>
                    <a:pt x="4" y="354"/>
                  </a:lnTo>
                  <a:lnTo>
                    <a:pt x="4" y="354"/>
                  </a:lnTo>
                  <a:lnTo>
                    <a:pt x="14" y="364"/>
                  </a:lnTo>
                  <a:lnTo>
                    <a:pt x="14" y="364"/>
                  </a:lnTo>
                  <a:lnTo>
                    <a:pt x="30" y="370"/>
                  </a:lnTo>
                  <a:lnTo>
                    <a:pt x="30" y="370"/>
                  </a:lnTo>
                  <a:lnTo>
                    <a:pt x="44" y="390"/>
                  </a:lnTo>
                  <a:lnTo>
                    <a:pt x="44" y="390"/>
                  </a:lnTo>
                  <a:lnTo>
                    <a:pt x="64" y="390"/>
                  </a:lnTo>
                  <a:lnTo>
                    <a:pt x="64" y="390"/>
                  </a:lnTo>
                  <a:lnTo>
                    <a:pt x="94" y="390"/>
                  </a:lnTo>
                  <a:lnTo>
                    <a:pt x="94" y="390"/>
                  </a:lnTo>
                  <a:lnTo>
                    <a:pt x="98" y="398"/>
                  </a:lnTo>
                  <a:lnTo>
                    <a:pt x="98" y="398"/>
                  </a:lnTo>
                  <a:lnTo>
                    <a:pt x="78" y="428"/>
                  </a:lnTo>
                  <a:lnTo>
                    <a:pt x="78" y="428"/>
                  </a:lnTo>
                  <a:lnTo>
                    <a:pt x="84" y="444"/>
                  </a:lnTo>
                  <a:lnTo>
                    <a:pt x="84" y="444"/>
                  </a:lnTo>
                  <a:lnTo>
                    <a:pt x="74" y="458"/>
                  </a:lnTo>
                  <a:lnTo>
                    <a:pt x="74" y="458"/>
                  </a:lnTo>
                  <a:lnTo>
                    <a:pt x="84" y="478"/>
                  </a:lnTo>
                  <a:lnTo>
                    <a:pt x="84" y="478"/>
                  </a:lnTo>
                  <a:lnTo>
                    <a:pt x="108" y="488"/>
                  </a:lnTo>
                  <a:lnTo>
                    <a:pt x="108" y="488"/>
                  </a:lnTo>
                  <a:lnTo>
                    <a:pt x="104" y="492"/>
                  </a:lnTo>
                  <a:lnTo>
                    <a:pt x="104" y="492"/>
                  </a:lnTo>
                  <a:lnTo>
                    <a:pt x="114" y="492"/>
                  </a:lnTo>
                  <a:lnTo>
                    <a:pt x="114" y="492"/>
                  </a:lnTo>
                  <a:lnTo>
                    <a:pt x="148" y="508"/>
                  </a:lnTo>
                  <a:lnTo>
                    <a:pt x="148" y="508"/>
                  </a:lnTo>
                  <a:lnTo>
                    <a:pt x="178" y="522"/>
                  </a:lnTo>
                  <a:lnTo>
                    <a:pt x="178" y="522"/>
                  </a:lnTo>
                  <a:lnTo>
                    <a:pt x="208" y="528"/>
                  </a:lnTo>
                  <a:lnTo>
                    <a:pt x="208" y="528"/>
                  </a:lnTo>
                  <a:lnTo>
                    <a:pt x="218" y="536"/>
                  </a:lnTo>
                  <a:lnTo>
                    <a:pt x="218" y="536"/>
                  </a:lnTo>
                  <a:lnTo>
                    <a:pt x="226" y="536"/>
                  </a:lnTo>
                  <a:lnTo>
                    <a:pt x="226" y="536"/>
                  </a:lnTo>
                  <a:lnTo>
                    <a:pt x="242" y="546"/>
                  </a:lnTo>
                  <a:lnTo>
                    <a:pt x="242" y="546"/>
                  </a:lnTo>
                  <a:lnTo>
                    <a:pt x="262" y="546"/>
                  </a:lnTo>
                  <a:lnTo>
                    <a:pt x="262" y="546"/>
                  </a:lnTo>
                  <a:lnTo>
                    <a:pt x="282" y="546"/>
                  </a:lnTo>
                  <a:lnTo>
                    <a:pt x="282" y="546"/>
                  </a:lnTo>
                  <a:lnTo>
                    <a:pt x="296" y="528"/>
                  </a:lnTo>
                  <a:lnTo>
                    <a:pt x="296" y="528"/>
                  </a:lnTo>
                  <a:lnTo>
                    <a:pt x="316" y="512"/>
                  </a:lnTo>
                  <a:lnTo>
                    <a:pt x="316" y="512"/>
                  </a:lnTo>
                  <a:lnTo>
                    <a:pt x="340" y="512"/>
                  </a:lnTo>
                  <a:lnTo>
                    <a:pt x="340" y="512"/>
                  </a:lnTo>
                  <a:lnTo>
                    <a:pt x="360" y="528"/>
                  </a:lnTo>
                  <a:lnTo>
                    <a:pt x="360" y="528"/>
                  </a:lnTo>
                  <a:lnTo>
                    <a:pt x="370" y="528"/>
                  </a:lnTo>
                  <a:lnTo>
                    <a:pt x="370" y="528"/>
                  </a:lnTo>
                  <a:lnTo>
                    <a:pt x="380" y="532"/>
                  </a:lnTo>
                  <a:lnTo>
                    <a:pt x="380" y="532"/>
                  </a:lnTo>
                  <a:lnTo>
                    <a:pt x="386" y="556"/>
                  </a:lnTo>
                  <a:lnTo>
                    <a:pt x="386" y="556"/>
                  </a:lnTo>
                  <a:lnTo>
                    <a:pt x="376" y="586"/>
                  </a:lnTo>
                  <a:lnTo>
                    <a:pt x="376" y="586"/>
                  </a:lnTo>
                  <a:lnTo>
                    <a:pt x="376" y="596"/>
                  </a:lnTo>
                  <a:lnTo>
                    <a:pt x="376" y="596"/>
                  </a:lnTo>
                  <a:lnTo>
                    <a:pt x="390" y="600"/>
                  </a:lnTo>
                  <a:lnTo>
                    <a:pt x="390" y="600"/>
                  </a:lnTo>
                  <a:lnTo>
                    <a:pt x="400" y="616"/>
                  </a:lnTo>
                  <a:lnTo>
                    <a:pt x="400" y="616"/>
                  </a:lnTo>
                  <a:lnTo>
                    <a:pt x="400" y="626"/>
                  </a:lnTo>
                  <a:lnTo>
                    <a:pt x="400" y="626"/>
                  </a:lnTo>
                  <a:lnTo>
                    <a:pt x="424" y="636"/>
                  </a:lnTo>
                  <a:lnTo>
                    <a:pt x="424" y="636"/>
                  </a:lnTo>
                  <a:lnTo>
                    <a:pt x="420" y="640"/>
                  </a:lnTo>
                  <a:lnTo>
                    <a:pt x="420" y="640"/>
                  </a:lnTo>
                  <a:lnTo>
                    <a:pt x="444" y="636"/>
                  </a:lnTo>
                  <a:lnTo>
                    <a:pt x="444" y="636"/>
                  </a:lnTo>
                  <a:lnTo>
                    <a:pt x="450" y="616"/>
                  </a:lnTo>
                  <a:lnTo>
                    <a:pt x="450" y="616"/>
                  </a:lnTo>
                  <a:lnTo>
                    <a:pt x="500" y="616"/>
                  </a:lnTo>
                  <a:lnTo>
                    <a:pt x="500" y="616"/>
                  </a:lnTo>
                  <a:lnTo>
                    <a:pt x="518" y="630"/>
                  </a:lnTo>
                  <a:lnTo>
                    <a:pt x="518" y="630"/>
                  </a:lnTo>
                  <a:lnTo>
                    <a:pt x="524" y="646"/>
                  </a:lnTo>
                  <a:lnTo>
                    <a:pt x="524" y="646"/>
                  </a:lnTo>
                  <a:lnTo>
                    <a:pt x="534" y="640"/>
                  </a:lnTo>
                  <a:lnTo>
                    <a:pt x="534" y="640"/>
                  </a:lnTo>
                  <a:lnTo>
                    <a:pt x="568" y="660"/>
                  </a:lnTo>
                  <a:lnTo>
                    <a:pt x="568" y="660"/>
                  </a:lnTo>
                  <a:lnTo>
                    <a:pt x="568" y="646"/>
                  </a:lnTo>
                  <a:lnTo>
                    <a:pt x="568" y="646"/>
                  </a:lnTo>
                  <a:lnTo>
                    <a:pt x="608" y="630"/>
                  </a:lnTo>
                  <a:lnTo>
                    <a:pt x="608" y="630"/>
                  </a:lnTo>
                  <a:lnTo>
                    <a:pt x="612" y="626"/>
                  </a:lnTo>
                  <a:lnTo>
                    <a:pt x="612" y="626"/>
                  </a:lnTo>
                  <a:lnTo>
                    <a:pt x="622" y="620"/>
                  </a:lnTo>
                  <a:lnTo>
                    <a:pt x="622" y="620"/>
                  </a:lnTo>
                  <a:lnTo>
                    <a:pt x="632" y="626"/>
                  </a:lnTo>
                  <a:lnTo>
                    <a:pt x="632" y="626"/>
                  </a:lnTo>
                  <a:lnTo>
                    <a:pt x="652" y="616"/>
                  </a:lnTo>
                  <a:lnTo>
                    <a:pt x="652" y="616"/>
                  </a:lnTo>
                  <a:lnTo>
                    <a:pt x="678" y="600"/>
                  </a:lnTo>
                  <a:lnTo>
                    <a:pt x="678" y="600"/>
                  </a:lnTo>
                  <a:lnTo>
                    <a:pt x="702" y="582"/>
                  </a:lnTo>
                  <a:lnTo>
                    <a:pt x="702" y="582"/>
                  </a:lnTo>
                  <a:lnTo>
                    <a:pt x="712" y="562"/>
                  </a:lnTo>
                  <a:lnTo>
                    <a:pt x="712" y="562"/>
                  </a:lnTo>
                  <a:lnTo>
                    <a:pt x="726" y="542"/>
                  </a:lnTo>
                  <a:lnTo>
                    <a:pt x="726" y="542"/>
                  </a:lnTo>
                  <a:lnTo>
                    <a:pt x="742" y="512"/>
                  </a:lnTo>
                  <a:lnTo>
                    <a:pt x="742" y="512"/>
                  </a:lnTo>
                  <a:lnTo>
                    <a:pt x="742" y="498"/>
                  </a:lnTo>
                  <a:lnTo>
                    <a:pt x="742" y="498"/>
                  </a:lnTo>
                  <a:lnTo>
                    <a:pt x="736" y="488"/>
                  </a:lnTo>
                  <a:lnTo>
                    <a:pt x="736" y="488"/>
                  </a:lnTo>
                  <a:lnTo>
                    <a:pt x="742" y="472"/>
                  </a:lnTo>
                  <a:lnTo>
                    <a:pt x="742" y="472"/>
                  </a:lnTo>
                  <a:lnTo>
                    <a:pt x="736" y="454"/>
                  </a:lnTo>
                  <a:lnTo>
                    <a:pt x="736" y="454"/>
                  </a:lnTo>
                  <a:lnTo>
                    <a:pt x="712" y="404"/>
                  </a:lnTo>
                  <a:lnTo>
                    <a:pt x="712" y="404"/>
                  </a:lnTo>
                  <a:lnTo>
                    <a:pt x="716" y="398"/>
                  </a:lnTo>
                  <a:lnTo>
                    <a:pt x="716" y="398"/>
                  </a:lnTo>
                  <a:lnTo>
                    <a:pt x="736" y="374"/>
                  </a:lnTo>
                  <a:lnTo>
                    <a:pt x="752" y="370"/>
                  </a:lnTo>
                  <a:lnTo>
                    <a:pt x="752" y="370"/>
                  </a:lnTo>
                  <a:lnTo>
                    <a:pt x="754" y="368"/>
                  </a:lnTo>
                  <a:lnTo>
                    <a:pt x="754" y="364"/>
                  </a:lnTo>
                  <a:lnTo>
                    <a:pt x="752" y="360"/>
                  </a:lnTo>
                  <a:lnTo>
                    <a:pt x="752" y="360"/>
                  </a:lnTo>
                  <a:lnTo>
                    <a:pt x="726" y="354"/>
                  </a:lnTo>
                  <a:lnTo>
                    <a:pt x="726" y="354"/>
                  </a:lnTo>
                  <a:lnTo>
                    <a:pt x="712" y="360"/>
                  </a:lnTo>
                  <a:lnTo>
                    <a:pt x="712" y="360"/>
                  </a:lnTo>
                  <a:lnTo>
                    <a:pt x="702" y="354"/>
                  </a:lnTo>
                  <a:lnTo>
                    <a:pt x="702" y="354"/>
                  </a:lnTo>
                  <a:lnTo>
                    <a:pt x="692" y="340"/>
                  </a:lnTo>
                  <a:lnTo>
                    <a:pt x="692" y="340"/>
                  </a:lnTo>
                  <a:lnTo>
                    <a:pt x="682" y="330"/>
                  </a:lnTo>
                  <a:lnTo>
                    <a:pt x="682" y="330"/>
                  </a:lnTo>
                  <a:lnTo>
                    <a:pt x="706" y="320"/>
                  </a:lnTo>
                  <a:lnTo>
                    <a:pt x="706" y="320"/>
                  </a:lnTo>
                  <a:lnTo>
                    <a:pt x="722" y="306"/>
                  </a:lnTo>
                  <a:lnTo>
                    <a:pt x="722" y="306"/>
                  </a:lnTo>
                  <a:lnTo>
                    <a:pt x="746" y="290"/>
                  </a:lnTo>
                  <a:lnTo>
                    <a:pt x="746" y="290"/>
                  </a:lnTo>
                  <a:lnTo>
                    <a:pt x="756" y="290"/>
                  </a:lnTo>
                  <a:lnTo>
                    <a:pt x="756" y="290"/>
                  </a:lnTo>
                  <a:lnTo>
                    <a:pt x="742" y="310"/>
                  </a:lnTo>
                  <a:lnTo>
                    <a:pt x="742" y="310"/>
                  </a:lnTo>
                  <a:lnTo>
                    <a:pt x="752" y="320"/>
                  </a:lnTo>
                  <a:lnTo>
                    <a:pt x="752" y="320"/>
                  </a:lnTo>
                  <a:lnTo>
                    <a:pt x="762" y="316"/>
                  </a:lnTo>
                  <a:lnTo>
                    <a:pt x="762" y="316"/>
                  </a:lnTo>
                  <a:lnTo>
                    <a:pt x="786" y="306"/>
                  </a:lnTo>
                  <a:lnTo>
                    <a:pt x="792" y="284"/>
                  </a:lnTo>
                  <a:lnTo>
                    <a:pt x="806" y="272"/>
                  </a:lnTo>
                  <a:lnTo>
                    <a:pt x="820" y="282"/>
                  </a:lnTo>
                  <a:lnTo>
                    <a:pt x="818" y="262"/>
                  </a:lnTo>
                  <a:lnTo>
                    <a:pt x="838" y="250"/>
                  </a:lnTo>
                  <a:lnTo>
                    <a:pt x="864" y="254"/>
                  </a:lnTo>
                  <a:lnTo>
                    <a:pt x="864" y="254"/>
                  </a:lnTo>
                  <a:lnTo>
                    <a:pt x="876" y="246"/>
                  </a:lnTo>
                  <a:lnTo>
                    <a:pt x="876" y="246"/>
                  </a:lnTo>
                  <a:lnTo>
                    <a:pt x="890" y="252"/>
                  </a:lnTo>
                  <a:lnTo>
                    <a:pt x="890" y="252"/>
                  </a:lnTo>
                  <a:lnTo>
                    <a:pt x="900" y="198"/>
                  </a:lnTo>
                  <a:lnTo>
                    <a:pt x="924" y="192"/>
                  </a:lnTo>
                  <a:lnTo>
                    <a:pt x="924" y="192"/>
                  </a:lnTo>
                  <a:lnTo>
                    <a:pt x="950" y="118"/>
                  </a:lnTo>
                  <a:lnTo>
                    <a:pt x="950" y="118"/>
                  </a:lnTo>
                  <a:lnTo>
                    <a:pt x="890" y="118"/>
                  </a:lnTo>
                  <a:lnTo>
                    <a:pt x="890" y="118"/>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191" name="Freeform 260"/>
            <p:cNvSpPr>
              <a:spLocks/>
            </p:cNvSpPr>
            <p:nvPr/>
          </p:nvSpPr>
          <p:spPr bwMode="auto">
            <a:xfrm>
              <a:off x="6481763" y="4031927"/>
              <a:ext cx="57150" cy="68263"/>
            </a:xfrm>
            <a:custGeom>
              <a:avLst/>
              <a:gdLst/>
              <a:ahLst/>
              <a:cxnLst>
                <a:cxn ang="0">
                  <a:pos x="6" y="0"/>
                </a:cxn>
                <a:cxn ang="0">
                  <a:pos x="0" y="24"/>
                </a:cxn>
                <a:cxn ang="0">
                  <a:pos x="6" y="54"/>
                </a:cxn>
                <a:cxn ang="0">
                  <a:pos x="30" y="54"/>
                </a:cxn>
                <a:cxn ang="0">
                  <a:pos x="42" y="30"/>
                </a:cxn>
                <a:cxn ang="0">
                  <a:pos x="6" y="0"/>
                </a:cxn>
              </a:cxnLst>
              <a:rect l="0" t="0" r="r" b="b"/>
              <a:pathLst>
                <a:path w="42" h="54">
                  <a:moveTo>
                    <a:pt x="6" y="0"/>
                  </a:moveTo>
                  <a:lnTo>
                    <a:pt x="0" y="24"/>
                  </a:lnTo>
                  <a:lnTo>
                    <a:pt x="6" y="54"/>
                  </a:lnTo>
                  <a:lnTo>
                    <a:pt x="30" y="54"/>
                  </a:lnTo>
                  <a:lnTo>
                    <a:pt x="42" y="30"/>
                  </a:lnTo>
                  <a:lnTo>
                    <a:pt x="6"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2" name="Freeform 261"/>
            <p:cNvSpPr>
              <a:spLocks/>
            </p:cNvSpPr>
            <p:nvPr/>
          </p:nvSpPr>
          <p:spPr bwMode="auto">
            <a:xfrm>
              <a:off x="7205663" y="3749352"/>
              <a:ext cx="53975" cy="53975"/>
            </a:xfrm>
            <a:custGeom>
              <a:avLst/>
              <a:gdLst/>
              <a:ahLst/>
              <a:cxnLst>
                <a:cxn ang="0">
                  <a:pos x="0" y="30"/>
                </a:cxn>
                <a:cxn ang="0">
                  <a:pos x="12" y="12"/>
                </a:cxn>
                <a:cxn ang="0">
                  <a:pos x="30" y="0"/>
                </a:cxn>
                <a:cxn ang="0">
                  <a:pos x="42" y="12"/>
                </a:cxn>
                <a:cxn ang="0">
                  <a:pos x="30" y="30"/>
                </a:cxn>
                <a:cxn ang="0">
                  <a:pos x="12" y="42"/>
                </a:cxn>
                <a:cxn ang="0">
                  <a:pos x="0" y="30"/>
                </a:cxn>
              </a:cxnLst>
              <a:rect l="0" t="0" r="r" b="b"/>
              <a:pathLst>
                <a:path w="42" h="42">
                  <a:moveTo>
                    <a:pt x="0" y="30"/>
                  </a:moveTo>
                  <a:lnTo>
                    <a:pt x="12" y="12"/>
                  </a:lnTo>
                  <a:lnTo>
                    <a:pt x="30" y="0"/>
                  </a:lnTo>
                  <a:lnTo>
                    <a:pt x="42" y="12"/>
                  </a:lnTo>
                  <a:lnTo>
                    <a:pt x="30" y="30"/>
                  </a:lnTo>
                  <a:lnTo>
                    <a:pt x="12" y="42"/>
                  </a:lnTo>
                  <a:lnTo>
                    <a:pt x="0" y="3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3" name="Freeform 262"/>
            <p:cNvSpPr>
              <a:spLocks/>
            </p:cNvSpPr>
            <p:nvPr/>
          </p:nvSpPr>
          <p:spPr bwMode="auto">
            <a:xfrm>
              <a:off x="7496175" y="3616002"/>
              <a:ext cx="31750" cy="93663"/>
            </a:xfrm>
            <a:custGeom>
              <a:avLst/>
              <a:gdLst/>
              <a:ahLst/>
              <a:cxnLst>
                <a:cxn ang="0">
                  <a:pos x="0" y="42"/>
                </a:cxn>
                <a:cxn ang="0">
                  <a:pos x="0" y="18"/>
                </a:cxn>
                <a:cxn ang="0">
                  <a:pos x="24" y="0"/>
                </a:cxn>
                <a:cxn ang="0">
                  <a:pos x="24" y="24"/>
                </a:cxn>
                <a:cxn ang="0">
                  <a:pos x="6" y="72"/>
                </a:cxn>
                <a:cxn ang="0">
                  <a:pos x="0" y="42"/>
                </a:cxn>
              </a:cxnLst>
              <a:rect l="0" t="0" r="r" b="b"/>
              <a:pathLst>
                <a:path w="24" h="72">
                  <a:moveTo>
                    <a:pt x="0" y="42"/>
                  </a:moveTo>
                  <a:lnTo>
                    <a:pt x="0" y="18"/>
                  </a:lnTo>
                  <a:lnTo>
                    <a:pt x="24" y="0"/>
                  </a:lnTo>
                  <a:lnTo>
                    <a:pt x="24" y="24"/>
                  </a:lnTo>
                  <a:lnTo>
                    <a:pt x="6" y="72"/>
                  </a:lnTo>
                  <a:lnTo>
                    <a:pt x="0" y="4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4" name="Freeform 263"/>
            <p:cNvSpPr>
              <a:spLocks/>
            </p:cNvSpPr>
            <p:nvPr/>
          </p:nvSpPr>
          <p:spPr bwMode="auto">
            <a:xfrm>
              <a:off x="7731125" y="3373115"/>
              <a:ext cx="46038" cy="69850"/>
            </a:xfrm>
            <a:custGeom>
              <a:avLst/>
              <a:gdLst/>
              <a:ahLst/>
              <a:cxnLst>
                <a:cxn ang="0">
                  <a:pos x="0" y="18"/>
                </a:cxn>
                <a:cxn ang="0">
                  <a:pos x="6" y="36"/>
                </a:cxn>
                <a:cxn ang="0">
                  <a:pos x="12" y="54"/>
                </a:cxn>
                <a:cxn ang="0">
                  <a:pos x="30" y="42"/>
                </a:cxn>
                <a:cxn ang="0">
                  <a:pos x="36" y="18"/>
                </a:cxn>
                <a:cxn ang="0">
                  <a:pos x="30" y="0"/>
                </a:cxn>
                <a:cxn ang="0">
                  <a:pos x="0" y="18"/>
                </a:cxn>
              </a:cxnLst>
              <a:rect l="0" t="0" r="r" b="b"/>
              <a:pathLst>
                <a:path w="36" h="54">
                  <a:moveTo>
                    <a:pt x="0" y="18"/>
                  </a:moveTo>
                  <a:lnTo>
                    <a:pt x="6" y="36"/>
                  </a:lnTo>
                  <a:lnTo>
                    <a:pt x="12" y="54"/>
                  </a:lnTo>
                  <a:lnTo>
                    <a:pt x="30" y="42"/>
                  </a:lnTo>
                  <a:lnTo>
                    <a:pt x="36" y="18"/>
                  </a:lnTo>
                  <a:lnTo>
                    <a:pt x="30" y="0"/>
                  </a:lnTo>
                  <a:lnTo>
                    <a:pt x="0" y="1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5" name="Freeform 264"/>
            <p:cNvSpPr>
              <a:spLocks/>
            </p:cNvSpPr>
            <p:nvPr/>
          </p:nvSpPr>
          <p:spPr bwMode="auto">
            <a:xfrm>
              <a:off x="7786688" y="3014340"/>
              <a:ext cx="344487" cy="374650"/>
            </a:xfrm>
            <a:custGeom>
              <a:avLst/>
              <a:gdLst/>
              <a:ahLst/>
              <a:cxnLst>
                <a:cxn ang="0">
                  <a:pos x="6" y="247"/>
                </a:cxn>
                <a:cxn ang="0">
                  <a:pos x="42" y="235"/>
                </a:cxn>
                <a:cxn ang="0">
                  <a:pos x="66" y="235"/>
                </a:cxn>
                <a:cxn ang="0">
                  <a:pos x="108" y="199"/>
                </a:cxn>
                <a:cxn ang="0">
                  <a:pos x="138" y="187"/>
                </a:cxn>
                <a:cxn ang="0">
                  <a:pos x="144" y="157"/>
                </a:cxn>
                <a:cxn ang="0">
                  <a:pos x="156" y="109"/>
                </a:cxn>
                <a:cxn ang="0">
                  <a:pos x="156" y="72"/>
                </a:cxn>
                <a:cxn ang="0">
                  <a:pos x="174" y="48"/>
                </a:cxn>
                <a:cxn ang="0">
                  <a:pos x="174" y="18"/>
                </a:cxn>
                <a:cxn ang="0">
                  <a:pos x="186" y="0"/>
                </a:cxn>
                <a:cxn ang="0">
                  <a:pos x="210" y="18"/>
                </a:cxn>
                <a:cxn ang="0">
                  <a:pos x="246" y="30"/>
                </a:cxn>
                <a:cxn ang="0">
                  <a:pos x="264" y="30"/>
                </a:cxn>
                <a:cxn ang="0">
                  <a:pos x="240" y="54"/>
                </a:cxn>
                <a:cxn ang="0">
                  <a:pos x="222" y="66"/>
                </a:cxn>
                <a:cxn ang="0">
                  <a:pos x="210" y="85"/>
                </a:cxn>
                <a:cxn ang="0">
                  <a:pos x="180" y="60"/>
                </a:cxn>
                <a:cxn ang="0">
                  <a:pos x="162" y="97"/>
                </a:cxn>
                <a:cxn ang="0">
                  <a:pos x="186" y="139"/>
                </a:cxn>
                <a:cxn ang="0">
                  <a:pos x="168" y="169"/>
                </a:cxn>
                <a:cxn ang="0">
                  <a:pos x="162" y="193"/>
                </a:cxn>
                <a:cxn ang="0">
                  <a:pos x="162" y="235"/>
                </a:cxn>
                <a:cxn ang="0">
                  <a:pos x="150" y="247"/>
                </a:cxn>
                <a:cxn ang="0">
                  <a:pos x="138" y="241"/>
                </a:cxn>
                <a:cxn ang="0">
                  <a:pos x="126" y="247"/>
                </a:cxn>
                <a:cxn ang="0">
                  <a:pos x="102" y="247"/>
                </a:cxn>
                <a:cxn ang="0">
                  <a:pos x="90" y="247"/>
                </a:cxn>
                <a:cxn ang="0">
                  <a:pos x="66" y="271"/>
                </a:cxn>
                <a:cxn ang="0">
                  <a:pos x="60" y="259"/>
                </a:cxn>
                <a:cxn ang="0">
                  <a:pos x="48" y="265"/>
                </a:cxn>
                <a:cxn ang="0">
                  <a:pos x="36" y="271"/>
                </a:cxn>
                <a:cxn ang="0">
                  <a:pos x="12" y="289"/>
                </a:cxn>
                <a:cxn ang="0">
                  <a:pos x="0" y="259"/>
                </a:cxn>
                <a:cxn ang="0">
                  <a:pos x="6" y="247"/>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6" name="Freeform 265"/>
            <p:cNvSpPr>
              <a:spLocks/>
            </p:cNvSpPr>
            <p:nvPr/>
          </p:nvSpPr>
          <p:spPr bwMode="auto">
            <a:xfrm>
              <a:off x="8029575" y="2669852"/>
              <a:ext cx="61913" cy="306388"/>
            </a:xfrm>
            <a:custGeom>
              <a:avLst/>
              <a:gdLst/>
              <a:ahLst/>
              <a:cxnLst>
                <a:cxn ang="0">
                  <a:pos x="12" y="222"/>
                </a:cxn>
                <a:cxn ang="0">
                  <a:pos x="12" y="180"/>
                </a:cxn>
                <a:cxn ang="0">
                  <a:pos x="6" y="90"/>
                </a:cxn>
                <a:cxn ang="0">
                  <a:pos x="0" y="66"/>
                </a:cxn>
                <a:cxn ang="0">
                  <a:pos x="6" y="30"/>
                </a:cxn>
                <a:cxn ang="0">
                  <a:pos x="12" y="0"/>
                </a:cxn>
                <a:cxn ang="0">
                  <a:pos x="24" y="36"/>
                </a:cxn>
                <a:cxn ang="0">
                  <a:pos x="24" y="60"/>
                </a:cxn>
                <a:cxn ang="0">
                  <a:pos x="48" y="156"/>
                </a:cxn>
                <a:cxn ang="0">
                  <a:pos x="30" y="144"/>
                </a:cxn>
                <a:cxn ang="0">
                  <a:pos x="24" y="168"/>
                </a:cxn>
                <a:cxn ang="0">
                  <a:pos x="24" y="198"/>
                </a:cxn>
                <a:cxn ang="0">
                  <a:pos x="42" y="234"/>
                </a:cxn>
                <a:cxn ang="0">
                  <a:pos x="12" y="222"/>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7" name="Freeform 272"/>
            <p:cNvSpPr>
              <a:spLocks/>
            </p:cNvSpPr>
            <p:nvPr/>
          </p:nvSpPr>
          <p:spPr bwMode="auto">
            <a:xfrm>
              <a:off x="7478713" y="3795390"/>
              <a:ext cx="141287" cy="195262"/>
            </a:xfrm>
            <a:custGeom>
              <a:avLst/>
              <a:gdLst/>
              <a:ahLst/>
              <a:cxnLst>
                <a:cxn ang="0">
                  <a:pos x="12" y="18"/>
                </a:cxn>
                <a:cxn ang="0">
                  <a:pos x="0" y="42"/>
                </a:cxn>
                <a:cxn ang="0">
                  <a:pos x="6" y="72"/>
                </a:cxn>
                <a:cxn ang="0">
                  <a:pos x="18" y="85"/>
                </a:cxn>
                <a:cxn ang="0">
                  <a:pos x="36" y="91"/>
                </a:cxn>
                <a:cxn ang="0">
                  <a:pos x="72" y="109"/>
                </a:cxn>
                <a:cxn ang="0">
                  <a:pos x="78" y="139"/>
                </a:cxn>
                <a:cxn ang="0">
                  <a:pos x="108" y="151"/>
                </a:cxn>
                <a:cxn ang="0">
                  <a:pos x="102" y="127"/>
                </a:cxn>
                <a:cxn ang="0">
                  <a:pos x="78" y="91"/>
                </a:cxn>
                <a:cxn ang="0">
                  <a:pos x="42" y="66"/>
                </a:cxn>
                <a:cxn ang="0">
                  <a:pos x="48" y="48"/>
                </a:cxn>
                <a:cxn ang="0">
                  <a:pos x="54" y="12"/>
                </a:cxn>
                <a:cxn ang="0">
                  <a:pos x="30" y="0"/>
                </a:cxn>
                <a:cxn ang="0">
                  <a:pos x="12" y="18"/>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8" name="Freeform 273"/>
            <p:cNvSpPr>
              <a:spLocks/>
            </p:cNvSpPr>
            <p:nvPr/>
          </p:nvSpPr>
          <p:spPr bwMode="auto">
            <a:xfrm>
              <a:off x="7535863" y="4022402"/>
              <a:ext cx="115887" cy="92075"/>
            </a:xfrm>
            <a:custGeom>
              <a:avLst/>
              <a:gdLst/>
              <a:ahLst/>
              <a:cxnLst>
                <a:cxn ang="0">
                  <a:pos x="0" y="54"/>
                </a:cxn>
                <a:cxn ang="0">
                  <a:pos x="18" y="24"/>
                </a:cxn>
                <a:cxn ang="0">
                  <a:pos x="42" y="24"/>
                </a:cxn>
                <a:cxn ang="0">
                  <a:pos x="60" y="0"/>
                </a:cxn>
                <a:cxn ang="0">
                  <a:pos x="90" y="24"/>
                </a:cxn>
                <a:cxn ang="0">
                  <a:pos x="90" y="72"/>
                </a:cxn>
                <a:cxn ang="0">
                  <a:pos x="60" y="60"/>
                </a:cxn>
                <a:cxn ang="0">
                  <a:pos x="42" y="60"/>
                </a:cxn>
                <a:cxn ang="0">
                  <a:pos x="24" y="48"/>
                </a:cxn>
                <a:cxn ang="0">
                  <a:pos x="0" y="54"/>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199" name="Freeform 298"/>
            <p:cNvSpPr>
              <a:spLocks/>
            </p:cNvSpPr>
            <p:nvPr/>
          </p:nvSpPr>
          <p:spPr bwMode="auto">
            <a:xfrm>
              <a:off x="6678613" y="3598540"/>
              <a:ext cx="119062" cy="101600"/>
            </a:xfrm>
            <a:custGeom>
              <a:avLst/>
              <a:gdLst/>
              <a:ahLst/>
              <a:cxnLst>
                <a:cxn ang="0">
                  <a:pos x="72" y="42"/>
                </a:cxn>
                <a:cxn ang="0">
                  <a:pos x="78" y="30"/>
                </a:cxn>
                <a:cxn ang="0">
                  <a:pos x="84" y="18"/>
                </a:cxn>
                <a:cxn ang="0">
                  <a:pos x="48" y="12"/>
                </a:cxn>
                <a:cxn ang="0">
                  <a:pos x="30" y="0"/>
                </a:cxn>
                <a:cxn ang="0">
                  <a:pos x="12" y="0"/>
                </a:cxn>
                <a:cxn ang="0">
                  <a:pos x="6" y="12"/>
                </a:cxn>
                <a:cxn ang="0">
                  <a:pos x="0" y="18"/>
                </a:cxn>
                <a:cxn ang="0">
                  <a:pos x="6" y="30"/>
                </a:cxn>
                <a:cxn ang="0">
                  <a:pos x="18" y="78"/>
                </a:cxn>
                <a:cxn ang="0">
                  <a:pos x="54" y="72"/>
                </a:cxn>
                <a:cxn ang="0">
                  <a:pos x="78" y="66"/>
                </a:cxn>
                <a:cxn ang="0">
                  <a:pos x="84" y="72"/>
                </a:cxn>
                <a:cxn ang="0">
                  <a:pos x="90" y="48"/>
                </a:cxn>
                <a:cxn ang="0">
                  <a:pos x="72" y="42"/>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0" name="Freeform 329"/>
            <p:cNvSpPr>
              <a:spLocks/>
            </p:cNvSpPr>
            <p:nvPr/>
          </p:nvSpPr>
          <p:spPr bwMode="auto">
            <a:xfrm>
              <a:off x="6992938" y="3709665"/>
              <a:ext cx="179387" cy="288925"/>
            </a:xfrm>
            <a:custGeom>
              <a:avLst/>
              <a:gdLst/>
              <a:ahLst/>
              <a:cxnLst>
                <a:cxn ang="0">
                  <a:pos x="102" y="205"/>
                </a:cxn>
                <a:cxn ang="0">
                  <a:pos x="120" y="199"/>
                </a:cxn>
                <a:cxn ang="0">
                  <a:pos x="138" y="187"/>
                </a:cxn>
                <a:cxn ang="0">
                  <a:pos x="138" y="151"/>
                </a:cxn>
                <a:cxn ang="0">
                  <a:pos x="138" y="120"/>
                </a:cxn>
                <a:cxn ang="0">
                  <a:pos x="120" y="102"/>
                </a:cxn>
                <a:cxn ang="0">
                  <a:pos x="96" y="72"/>
                </a:cxn>
                <a:cxn ang="0">
                  <a:pos x="78" y="48"/>
                </a:cxn>
                <a:cxn ang="0">
                  <a:pos x="84" y="36"/>
                </a:cxn>
                <a:cxn ang="0">
                  <a:pos x="78" y="24"/>
                </a:cxn>
                <a:cxn ang="0">
                  <a:pos x="60" y="18"/>
                </a:cxn>
                <a:cxn ang="0">
                  <a:pos x="48" y="0"/>
                </a:cxn>
                <a:cxn ang="0">
                  <a:pos x="42" y="0"/>
                </a:cxn>
                <a:cxn ang="0">
                  <a:pos x="12" y="6"/>
                </a:cxn>
                <a:cxn ang="0">
                  <a:pos x="0" y="24"/>
                </a:cxn>
                <a:cxn ang="0">
                  <a:pos x="0" y="24"/>
                </a:cxn>
                <a:cxn ang="0">
                  <a:pos x="6" y="36"/>
                </a:cxn>
                <a:cxn ang="0">
                  <a:pos x="12" y="72"/>
                </a:cxn>
                <a:cxn ang="0">
                  <a:pos x="54" y="72"/>
                </a:cxn>
                <a:cxn ang="0">
                  <a:pos x="72" y="78"/>
                </a:cxn>
                <a:cxn ang="0">
                  <a:pos x="102" y="126"/>
                </a:cxn>
                <a:cxn ang="0">
                  <a:pos x="96" y="145"/>
                </a:cxn>
                <a:cxn ang="0">
                  <a:pos x="60" y="151"/>
                </a:cxn>
                <a:cxn ang="0">
                  <a:pos x="42" y="163"/>
                </a:cxn>
                <a:cxn ang="0">
                  <a:pos x="42" y="187"/>
                </a:cxn>
                <a:cxn ang="0">
                  <a:pos x="72" y="217"/>
                </a:cxn>
                <a:cxn ang="0">
                  <a:pos x="84" y="223"/>
                </a:cxn>
                <a:cxn ang="0">
                  <a:pos x="96" y="217"/>
                </a:cxn>
                <a:cxn ang="0">
                  <a:pos x="102" y="205"/>
                </a:cxn>
              </a:cxnLst>
              <a:rect l="0" t="0" r="r" b="b"/>
              <a:pathLst>
                <a:path w="138" h="223">
                  <a:moveTo>
                    <a:pt x="102" y="205"/>
                  </a:moveTo>
                  <a:lnTo>
                    <a:pt x="120" y="199"/>
                  </a:lnTo>
                  <a:lnTo>
                    <a:pt x="138" y="187"/>
                  </a:lnTo>
                  <a:lnTo>
                    <a:pt x="138" y="151"/>
                  </a:lnTo>
                  <a:lnTo>
                    <a:pt x="138" y="120"/>
                  </a:lnTo>
                  <a:lnTo>
                    <a:pt x="120" y="102"/>
                  </a:lnTo>
                  <a:lnTo>
                    <a:pt x="96" y="72"/>
                  </a:lnTo>
                  <a:lnTo>
                    <a:pt x="78" y="48"/>
                  </a:lnTo>
                  <a:lnTo>
                    <a:pt x="84" y="36"/>
                  </a:lnTo>
                  <a:lnTo>
                    <a:pt x="78" y="24"/>
                  </a:lnTo>
                  <a:lnTo>
                    <a:pt x="60" y="18"/>
                  </a:lnTo>
                  <a:lnTo>
                    <a:pt x="48" y="0"/>
                  </a:lnTo>
                  <a:lnTo>
                    <a:pt x="42" y="0"/>
                  </a:lnTo>
                  <a:lnTo>
                    <a:pt x="12" y="6"/>
                  </a:lnTo>
                  <a:lnTo>
                    <a:pt x="0" y="24"/>
                  </a:lnTo>
                  <a:lnTo>
                    <a:pt x="0" y="24"/>
                  </a:lnTo>
                  <a:lnTo>
                    <a:pt x="6" y="36"/>
                  </a:lnTo>
                  <a:lnTo>
                    <a:pt x="12" y="72"/>
                  </a:lnTo>
                  <a:lnTo>
                    <a:pt x="54" y="72"/>
                  </a:lnTo>
                  <a:lnTo>
                    <a:pt x="72" y="78"/>
                  </a:lnTo>
                  <a:lnTo>
                    <a:pt x="102" y="126"/>
                  </a:lnTo>
                  <a:lnTo>
                    <a:pt x="96" y="145"/>
                  </a:lnTo>
                  <a:lnTo>
                    <a:pt x="60" y="151"/>
                  </a:lnTo>
                  <a:lnTo>
                    <a:pt x="42" y="163"/>
                  </a:lnTo>
                  <a:lnTo>
                    <a:pt x="42" y="187"/>
                  </a:lnTo>
                  <a:lnTo>
                    <a:pt x="72" y="217"/>
                  </a:lnTo>
                  <a:lnTo>
                    <a:pt x="84" y="223"/>
                  </a:lnTo>
                  <a:lnTo>
                    <a:pt x="96" y="217"/>
                  </a:lnTo>
                  <a:lnTo>
                    <a:pt x="102" y="205"/>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1" name="Freeform 330"/>
            <p:cNvSpPr>
              <a:spLocks/>
            </p:cNvSpPr>
            <p:nvPr/>
          </p:nvSpPr>
          <p:spPr bwMode="auto">
            <a:xfrm>
              <a:off x="7048500" y="3676327"/>
              <a:ext cx="180975" cy="355600"/>
            </a:xfrm>
            <a:custGeom>
              <a:avLst/>
              <a:gdLst/>
              <a:ahLst/>
              <a:cxnLst>
                <a:cxn ang="0">
                  <a:pos x="66" y="0"/>
                </a:cxn>
                <a:cxn ang="0">
                  <a:pos x="6" y="0"/>
                </a:cxn>
                <a:cxn ang="0">
                  <a:pos x="0" y="24"/>
                </a:cxn>
                <a:cxn ang="0">
                  <a:pos x="6" y="24"/>
                </a:cxn>
                <a:cxn ang="0">
                  <a:pos x="18" y="42"/>
                </a:cxn>
                <a:cxn ang="0">
                  <a:pos x="36" y="48"/>
                </a:cxn>
                <a:cxn ang="0">
                  <a:pos x="42" y="60"/>
                </a:cxn>
                <a:cxn ang="0">
                  <a:pos x="36" y="72"/>
                </a:cxn>
                <a:cxn ang="0">
                  <a:pos x="54" y="96"/>
                </a:cxn>
                <a:cxn ang="0">
                  <a:pos x="78" y="126"/>
                </a:cxn>
                <a:cxn ang="0">
                  <a:pos x="96" y="144"/>
                </a:cxn>
                <a:cxn ang="0">
                  <a:pos x="96" y="175"/>
                </a:cxn>
                <a:cxn ang="0">
                  <a:pos x="96" y="211"/>
                </a:cxn>
                <a:cxn ang="0">
                  <a:pos x="78" y="223"/>
                </a:cxn>
                <a:cxn ang="0">
                  <a:pos x="60" y="229"/>
                </a:cxn>
                <a:cxn ang="0">
                  <a:pos x="54" y="241"/>
                </a:cxn>
                <a:cxn ang="0">
                  <a:pos x="42" y="247"/>
                </a:cxn>
                <a:cxn ang="0">
                  <a:pos x="48" y="253"/>
                </a:cxn>
                <a:cxn ang="0">
                  <a:pos x="66" y="271"/>
                </a:cxn>
                <a:cxn ang="0">
                  <a:pos x="108" y="241"/>
                </a:cxn>
                <a:cxn ang="0">
                  <a:pos x="138" y="211"/>
                </a:cxn>
                <a:cxn ang="0">
                  <a:pos x="114" y="132"/>
                </a:cxn>
                <a:cxn ang="0">
                  <a:pos x="102" y="114"/>
                </a:cxn>
                <a:cxn ang="0">
                  <a:pos x="78" y="84"/>
                </a:cxn>
                <a:cxn ang="0">
                  <a:pos x="66" y="60"/>
                </a:cxn>
                <a:cxn ang="0">
                  <a:pos x="78" y="48"/>
                </a:cxn>
                <a:cxn ang="0">
                  <a:pos x="96" y="36"/>
                </a:cxn>
                <a:cxn ang="0">
                  <a:pos x="90" y="18"/>
                </a:cxn>
                <a:cxn ang="0">
                  <a:pos x="66" y="0"/>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2" name="Freeform 331"/>
            <p:cNvSpPr>
              <a:spLocks/>
            </p:cNvSpPr>
            <p:nvPr/>
          </p:nvSpPr>
          <p:spPr bwMode="auto">
            <a:xfrm>
              <a:off x="6489700" y="3482652"/>
              <a:ext cx="196850" cy="93663"/>
            </a:xfrm>
            <a:custGeom>
              <a:avLst/>
              <a:gdLst/>
              <a:ahLst/>
              <a:cxnLst>
                <a:cxn ang="0">
                  <a:pos x="102" y="36"/>
                </a:cxn>
                <a:cxn ang="0">
                  <a:pos x="66" y="18"/>
                </a:cxn>
                <a:cxn ang="0">
                  <a:pos x="24" y="0"/>
                </a:cxn>
                <a:cxn ang="0">
                  <a:pos x="12" y="0"/>
                </a:cxn>
                <a:cxn ang="0">
                  <a:pos x="0" y="30"/>
                </a:cxn>
                <a:cxn ang="0">
                  <a:pos x="60" y="60"/>
                </a:cxn>
                <a:cxn ang="0">
                  <a:pos x="102" y="66"/>
                </a:cxn>
                <a:cxn ang="0">
                  <a:pos x="126" y="72"/>
                </a:cxn>
                <a:cxn ang="0">
                  <a:pos x="138" y="72"/>
                </a:cxn>
                <a:cxn ang="0">
                  <a:pos x="150" y="54"/>
                </a:cxn>
                <a:cxn ang="0">
                  <a:pos x="150" y="54"/>
                </a:cxn>
                <a:cxn ang="0">
                  <a:pos x="138" y="42"/>
                </a:cxn>
                <a:cxn ang="0">
                  <a:pos x="102" y="36"/>
                </a:cxn>
              </a:cxnLst>
              <a:rect l="0" t="0" r="r" b="b"/>
              <a:pathLst>
                <a:path w="150" h="72">
                  <a:moveTo>
                    <a:pt x="102" y="36"/>
                  </a:moveTo>
                  <a:lnTo>
                    <a:pt x="66" y="18"/>
                  </a:lnTo>
                  <a:lnTo>
                    <a:pt x="24" y="0"/>
                  </a:lnTo>
                  <a:lnTo>
                    <a:pt x="12" y="0"/>
                  </a:lnTo>
                  <a:lnTo>
                    <a:pt x="0" y="30"/>
                  </a:lnTo>
                  <a:lnTo>
                    <a:pt x="60" y="60"/>
                  </a:lnTo>
                  <a:lnTo>
                    <a:pt x="102" y="66"/>
                  </a:lnTo>
                  <a:lnTo>
                    <a:pt x="126" y="72"/>
                  </a:lnTo>
                  <a:lnTo>
                    <a:pt x="138" y="72"/>
                  </a:lnTo>
                  <a:lnTo>
                    <a:pt x="150" y="54"/>
                  </a:lnTo>
                  <a:lnTo>
                    <a:pt x="150" y="54"/>
                  </a:lnTo>
                  <a:lnTo>
                    <a:pt x="138" y="42"/>
                  </a:lnTo>
                  <a:lnTo>
                    <a:pt x="102" y="3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3" name="Freeform 333"/>
            <p:cNvSpPr>
              <a:spLocks/>
            </p:cNvSpPr>
            <p:nvPr/>
          </p:nvSpPr>
          <p:spPr bwMode="auto">
            <a:xfrm>
              <a:off x="6692900" y="2749227"/>
              <a:ext cx="777875" cy="390525"/>
            </a:xfrm>
            <a:custGeom>
              <a:avLst/>
              <a:gdLst/>
              <a:ahLst/>
              <a:cxnLst>
                <a:cxn ang="0">
                  <a:pos x="42" y="126"/>
                </a:cxn>
                <a:cxn ang="0">
                  <a:pos x="48" y="186"/>
                </a:cxn>
                <a:cxn ang="0">
                  <a:pos x="127" y="210"/>
                </a:cxn>
                <a:cxn ang="0">
                  <a:pos x="181" y="264"/>
                </a:cxn>
                <a:cxn ang="0">
                  <a:pos x="253" y="270"/>
                </a:cxn>
                <a:cxn ang="0">
                  <a:pos x="313" y="301"/>
                </a:cxn>
                <a:cxn ang="0">
                  <a:pos x="379" y="258"/>
                </a:cxn>
                <a:cxn ang="0">
                  <a:pos x="445" y="252"/>
                </a:cxn>
                <a:cxn ang="0">
                  <a:pos x="457" y="210"/>
                </a:cxn>
                <a:cxn ang="0">
                  <a:pos x="499" y="192"/>
                </a:cxn>
                <a:cxn ang="0">
                  <a:pos x="541" y="174"/>
                </a:cxn>
                <a:cxn ang="0">
                  <a:pos x="595" y="156"/>
                </a:cxn>
                <a:cxn ang="0">
                  <a:pos x="583" y="132"/>
                </a:cxn>
                <a:cxn ang="0">
                  <a:pos x="529" y="126"/>
                </a:cxn>
                <a:cxn ang="0">
                  <a:pos x="529" y="96"/>
                </a:cxn>
                <a:cxn ang="0">
                  <a:pos x="541" y="72"/>
                </a:cxn>
                <a:cxn ang="0">
                  <a:pos x="499" y="60"/>
                </a:cxn>
                <a:cxn ang="0">
                  <a:pos x="403" y="84"/>
                </a:cxn>
                <a:cxn ang="0">
                  <a:pos x="367" y="54"/>
                </a:cxn>
                <a:cxn ang="0">
                  <a:pos x="307" y="54"/>
                </a:cxn>
                <a:cxn ang="0">
                  <a:pos x="289" y="36"/>
                </a:cxn>
                <a:cxn ang="0">
                  <a:pos x="217" y="0"/>
                </a:cxn>
                <a:cxn ang="0">
                  <a:pos x="193" y="30"/>
                </a:cxn>
                <a:cxn ang="0">
                  <a:pos x="169" y="66"/>
                </a:cxn>
                <a:cxn ang="0">
                  <a:pos x="121" y="48"/>
                </a:cxn>
                <a:cxn ang="0">
                  <a:pos x="54" y="54"/>
                </a:cxn>
                <a:cxn ang="0">
                  <a:pos x="12" y="78"/>
                </a:cxn>
                <a:cxn ang="0">
                  <a:pos x="0" y="102"/>
                </a:cxn>
                <a:cxn ang="0">
                  <a:pos x="6" y="108"/>
                </a:cxn>
                <a:cxn ang="0">
                  <a:pos x="42" y="126"/>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4" name="Freeform 446"/>
            <p:cNvSpPr>
              <a:spLocks/>
            </p:cNvSpPr>
            <p:nvPr/>
          </p:nvSpPr>
          <p:spPr bwMode="auto">
            <a:xfrm>
              <a:off x="6926263" y="3738240"/>
              <a:ext cx="201612" cy="361950"/>
            </a:xfrm>
            <a:custGeom>
              <a:avLst/>
              <a:gdLst/>
              <a:ahLst/>
              <a:cxnLst>
                <a:cxn ang="0">
                  <a:pos x="7" y="9"/>
                </a:cxn>
                <a:cxn ang="0">
                  <a:pos x="0" y="23"/>
                </a:cxn>
                <a:cxn ang="0">
                  <a:pos x="15" y="47"/>
                </a:cxn>
                <a:cxn ang="0">
                  <a:pos x="15" y="60"/>
                </a:cxn>
                <a:cxn ang="0">
                  <a:pos x="22" y="78"/>
                </a:cxn>
                <a:cxn ang="0">
                  <a:pos x="19" y="93"/>
                </a:cxn>
                <a:cxn ang="0">
                  <a:pos x="23" y="110"/>
                </a:cxn>
                <a:cxn ang="0">
                  <a:pos x="26" y="118"/>
                </a:cxn>
                <a:cxn ang="0">
                  <a:pos x="19" y="126"/>
                </a:cxn>
                <a:cxn ang="0">
                  <a:pos x="13" y="159"/>
                </a:cxn>
                <a:cxn ang="0">
                  <a:pos x="33" y="182"/>
                </a:cxn>
                <a:cxn ang="0">
                  <a:pos x="34" y="178"/>
                </a:cxn>
                <a:cxn ang="0">
                  <a:pos x="46" y="185"/>
                </a:cxn>
                <a:cxn ang="0">
                  <a:pos x="46" y="190"/>
                </a:cxn>
                <a:cxn ang="0">
                  <a:pos x="56" y="188"/>
                </a:cxn>
                <a:cxn ang="0">
                  <a:pos x="59" y="184"/>
                </a:cxn>
                <a:cxn ang="0">
                  <a:pos x="43" y="174"/>
                </a:cxn>
                <a:cxn ang="0">
                  <a:pos x="27" y="149"/>
                </a:cxn>
                <a:cxn ang="0">
                  <a:pos x="19" y="138"/>
                </a:cxn>
                <a:cxn ang="0">
                  <a:pos x="32" y="113"/>
                </a:cxn>
                <a:cxn ang="0">
                  <a:pos x="57" y="108"/>
                </a:cxn>
                <a:cxn ang="0">
                  <a:pos x="70" y="119"/>
                </a:cxn>
                <a:cxn ang="0">
                  <a:pos x="63" y="97"/>
                </a:cxn>
                <a:cxn ang="0">
                  <a:pos x="72" y="87"/>
                </a:cxn>
                <a:cxn ang="0">
                  <a:pos x="101" y="87"/>
                </a:cxn>
                <a:cxn ang="0">
                  <a:pos x="107" y="73"/>
                </a:cxn>
                <a:cxn ang="0">
                  <a:pos x="95" y="50"/>
                </a:cxn>
                <a:cxn ang="0">
                  <a:pos x="85" y="37"/>
                </a:cxn>
                <a:cxn ang="0">
                  <a:pos x="48" y="27"/>
                </a:cxn>
                <a:cxn ang="0">
                  <a:pos x="36" y="0"/>
                </a:cxn>
                <a:cxn ang="0">
                  <a:pos x="7" y="9"/>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05" name="Freeform 447"/>
            <p:cNvSpPr>
              <a:spLocks/>
            </p:cNvSpPr>
            <p:nvPr/>
          </p:nvSpPr>
          <p:spPr bwMode="auto">
            <a:xfrm>
              <a:off x="6792913" y="3533452"/>
              <a:ext cx="227012" cy="444500"/>
            </a:xfrm>
            <a:custGeom>
              <a:avLst/>
              <a:gdLst/>
              <a:ahLst/>
              <a:cxnLst>
                <a:cxn ang="0">
                  <a:pos x="72" y="0"/>
                </a:cxn>
                <a:cxn ang="0">
                  <a:pos x="55" y="17"/>
                </a:cxn>
                <a:cxn ang="0">
                  <a:pos x="40" y="26"/>
                </a:cxn>
                <a:cxn ang="0">
                  <a:pos x="15" y="60"/>
                </a:cxn>
                <a:cxn ang="0">
                  <a:pos x="7" y="85"/>
                </a:cxn>
                <a:cxn ang="0">
                  <a:pos x="0" y="98"/>
                </a:cxn>
                <a:cxn ang="0">
                  <a:pos x="23" y="123"/>
                </a:cxn>
                <a:cxn ang="0">
                  <a:pos x="31" y="142"/>
                </a:cxn>
                <a:cxn ang="0">
                  <a:pos x="26" y="161"/>
                </a:cxn>
                <a:cxn ang="0">
                  <a:pos x="44" y="165"/>
                </a:cxn>
                <a:cxn ang="0">
                  <a:pos x="58" y="157"/>
                </a:cxn>
                <a:cxn ang="0">
                  <a:pos x="65" y="148"/>
                </a:cxn>
                <a:cxn ang="0">
                  <a:pos x="80" y="188"/>
                </a:cxn>
                <a:cxn ang="0">
                  <a:pos x="86" y="211"/>
                </a:cxn>
                <a:cxn ang="0">
                  <a:pos x="85" y="233"/>
                </a:cxn>
                <a:cxn ang="0">
                  <a:pos x="99" y="212"/>
                </a:cxn>
                <a:cxn ang="0">
                  <a:pos x="92" y="188"/>
                </a:cxn>
                <a:cxn ang="0">
                  <a:pos x="80" y="173"/>
                </a:cxn>
                <a:cxn ang="0">
                  <a:pos x="86" y="161"/>
                </a:cxn>
                <a:cxn ang="0">
                  <a:pos x="85" y="151"/>
                </a:cxn>
                <a:cxn ang="0">
                  <a:pos x="69" y="130"/>
                </a:cxn>
                <a:cxn ang="0">
                  <a:pos x="77" y="114"/>
                </a:cxn>
                <a:cxn ang="0">
                  <a:pos x="106" y="106"/>
                </a:cxn>
                <a:cxn ang="0">
                  <a:pos x="120" y="91"/>
                </a:cxn>
                <a:cxn ang="0">
                  <a:pos x="111" y="91"/>
                </a:cxn>
                <a:cxn ang="0">
                  <a:pos x="104" y="87"/>
                </a:cxn>
                <a:cxn ang="0">
                  <a:pos x="93" y="84"/>
                </a:cxn>
                <a:cxn ang="0">
                  <a:pos x="98" y="73"/>
                </a:cxn>
                <a:cxn ang="0">
                  <a:pos x="88" y="60"/>
                </a:cxn>
                <a:cxn ang="0">
                  <a:pos x="77" y="42"/>
                </a:cxn>
                <a:cxn ang="0">
                  <a:pos x="86" y="34"/>
                </a:cxn>
                <a:cxn ang="0">
                  <a:pos x="86" y="13"/>
                </a:cxn>
                <a:cxn ang="0">
                  <a:pos x="72" y="0"/>
                </a:cxn>
              </a:cxnLst>
              <a:rect l="0" t="0" r="r" b="b"/>
              <a:pathLst>
                <a:path w="120" h="233">
                  <a:moveTo>
                    <a:pt x="72" y="0"/>
                  </a:moveTo>
                  <a:lnTo>
                    <a:pt x="55" y="17"/>
                  </a:lnTo>
                  <a:lnTo>
                    <a:pt x="40" y="26"/>
                  </a:lnTo>
                  <a:lnTo>
                    <a:pt x="15" y="60"/>
                  </a:lnTo>
                  <a:lnTo>
                    <a:pt x="7" y="85"/>
                  </a:lnTo>
                  <a:lnTo>
                    <a:pt x="0" y="98"/>
                  </a:lnTo>
                  <a:lnTo>
                    <a:pt x="23" y="123"/>
                  </a:lnTo>
                  <a:lnTo>
                    <a:pt x="31" y="142"/>
                  </a:lnTo>
                  <a:lnTo>
                    <a:pt x="26" y="161"/>
                  </a:lnTo>
                  <a:lnTo>
                    <a:pt x="44" y="165"/>
                  </a:lnTo>
                  <a:lnTo>
                    <a:pt x="58" y="157"/>
                  </a:lnTo>
                  <a:lnTo>
                    <a:pt x="65" y="148"/>
                  </a:lnTo>
                  <a:lnTo>
                    <a:pt x="80" y="188"/>
                  </a:lnTo>
                  <a:lnTo>
                    <a:pt x="86" y="211"/>
                  </a:lnTo>
                  <a:lnTo>
                    <a:pt x="85" y="233"/>
                  </a:lnTo>
                  <a:lnTo>
                    <a:pt x="99" y="212"/>
                  </a:lnTo>
                  <a:lnTo>
                    <a:pt x="92" y="188"/>
                  </a:lnTo>
                  <a:lnTo>
                    <a:pt x="80" y="173"/>
                  </a:lnTo>
                  <a:lnTo>
                    <a:pt x="86" y="161"/>
                  </a:lnTo>
                  <a:lnTo>
                    <a:pt x="85" y="151"/>
                  </a:lnTo>
                  <a:lnTo>
                    <a:pt x="69" y="130"/>
                  </a:lnTo>
                  <a:lnTo>
                    <a:pt x="77" y="114"/>
                  </a:lnTo>
                  <a:lnTo>
                    <a:pt x="106" y="106"/>
                  </a:lnTo>
                  <a:lnTo>
                    <a:pt x="120" y="91"/>
                  </a:lnTo>
                  <a:lnTo>
                    <a:pt x="111" y="91"/>
                  </a:lnTo>
                  <a:lnTo>
                    <a:pt x="104" y="87"/>
                  </a:lnTo>
                  <a:lnTo>
                    <a:pt x="93" y="84"/>
                  </a:lnTo>
                  <a:lnTo>
                    <a:pt x="98" y="73"/>
                  </a:lnTo>
                  <a:lnTo>
                    <a:pt x="88" y="60"/>
                  </a:lnTo>
                  <a:lnTo>
                    <a:pt x="77" y="42"/>
                  </a:lnTo>
                  <a:lnTo>
                    <a:pt x="86" y="34"/>
                  </a:lnTo>
                  <a:lnTo>
                    <a:pt x="86" y="13"/>
                  </a:lnTo>
                  <a:lnTo>
                    <a:pt x="72" y="0"/>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06" name="Line 449"/>
            <p:cNvSpPr>
              <a:spLocks noChangeShapeType="1"/>
            </p:cNvSpPr>
            <p:nvPr/>
          </p:nvSpPr>
          <p:spPr bwMode="auto">
            <a:xfrm>
              <a:off x="7440613" y="3812852"/>
              <a:ext cx="0" cy="0"/>
            </a:xfrm>
            <a:prstGeom prst="line">
              <a:avLst/>
            </a:prstGeom>
            <a:grpFill/>
            <a:ln w="0">
              <a:solidFill>
                <a:srgbClr val="0085C3"/>
              </a:solidFill>
              <a:round/>
              <a:headEnd/>
              <a:tailEnd/>
            </a:ln>
          </p:spPr>
          <p:txBody>
            <a:bodyPr/>
            <a:lstStyle/>
            <a:p>
              <a:endParaRPr lang="en-US" dirty="0">
                <a:solidFill>
                  <a:srgbClr val="444444"/>
                </a:solidFill>
              </a:endParaRPr>
            </a:p>
          </p:txBody>
        </p:sp>
        <p:sp>
          <p:nvSpPr>
            <p:cNvPr id="207" name="Freeform 506"/>
            <p:cNvSpPr>
              <a:spLocks/>
            </p:cNvSpPr>
            <p:nvPr/>
          </p:nvSpPr>
          <p:spPr bwMode="auto">
            <a:xfrm>
              <a:off x="7589838" y="3098477"/>
              <a:ext cx="123825" cy="155575"/>
            </a:xfrm>
            <a:custGeom>
              <a:avLst/>
              <a:gdLst/>
              <a:ahLst/>
              <a:cxnLst>
                <a:cxn ang="0">
                  <a:pos x="32" y="12"/>
                </a:cxn>
                <a:cxn ang="0">
                  <a:pos x="34" y="32"/>
                </a:cxn>
                <a:cxn ang="0">
                  <a:pos x="20" y="22"/>
                </a:cxn>
                <a:cxn ang="0">
                  <a:pos x="6" y="34"/>
                </a:cxn>
                <a:cxn ang="0">
                  <a:pos x="0" y="56"/>
                </a:cxn>
                <a:cxn ang="0">
                  <a:pos x="0" y="56"/>
                </a:cxn>
                <a:cxn ang="0">
                  <a:pos x="6" y="56"/>
                </a:cxn>
                <a:cxn ang="0">
                  <a:pos x="6" y="56"/>
                </a:cxn>
                <a:cxn ang="0">
                  <a:pos x="10" y="56"/>
                </a:cxn>
                <a:cxn ang="0">
                  <a:pos x="10" y="56"/>
                </a:cxn>
                <a:cxn ang="0">
                  <a:pos x="30" y="70"/>
                </a:cxn>
                <a:cxn ang="0">
                  <a:pos x="34" y="84"/>
                </a:cxn>
                <a:cxn ang="0">
                  <a:pos x="34" y="84"/>
                </a:cxn>
                <a:cxn ang="0">
                  <a:pos x="36" y="92"/>
                </a:cxn>
                <a:cxn ang="0">
                  <a:pos x="40" y="98"/>
                </a:cxn>
                <a:cxn ang="0">
                  <a:pos x="70" y="88"/>
                </a:cxn>
                <a:cxn ang="0">
                  <a:pos x="70" y="84"/>
                </a:cxn>
                <a:cxn ang="0">
                  <a:pos x="70" y="84"/>
                </a:cxn>
                <a:cxn ang="0">
                  <a:pos x="68" y="82"/>
                </a:cxn>
                <a:cxn ang="0">
                  <a:pos x="66" y="78"/>
                </a:cxn>
                <a:cxn ang="0">
                  <a:pos x="64" y="76"/>
                </a:cxn>
                <a:cxn ang="0">
                  <a:pos x="64" y="76"/>
                </a:cxn>
                <a:cxn ang="0">
                  <a:pos x="64" y="60"/>
                </a:cxn>
                <a:cxn ang="0">
                  <a:pos x="64" y="60"/>
                </a:cxn>
                <a:cxn ang="0">
                  <a:pos x="64" y="46"/>
                </a:cxn>
                <a:cxn ang="0">
                  <a:pos x="64" y="46"/>
                </a:cxn>
                <a:cxn ang="0">
                  <a:pos x="54" y="26"/>
                </a:cxn>
                <a:cxn ang="0">
                  <a:pos x="54" y="26"/>
                </a:cxn>
                <a:cxn ang="0">
                  <a:pos x="64" y="16"/>
                </a:cxn>
                <a:cxn ang="0">
                  <a:pos x="64" y="16"/>
                </a:cxn>
                <a:cxn ang="0">
                  <a:pos x="78" y="4"/>
                </a:cxn>
                <a:cxn ang="0">
                  <a:pos x="52" y="0"/>
                </a:cxn>
                <a:cxn ang="0">
                  <a:pos x="32" y="12"/>
                </a:cxn>
              </a:cxnLst>
              <a:rect l="0" t="0" r="r" b="b"/>
              <a:pathLst>
                <a:path w="78" h="98">
                  <a:moveTo>
                    <a:pt x="32" y="12"/>
                  </a:moveTo>
                  <a:lnTo>
                    <a:pt x="34" y="32"/>
                  </a:lnTo>
                  <a:lnTo>
                    <a:pt x="20" y="22"/>
                  </a:lnTo>
                  <a:lnTo>
                    <a:pt x="6" y="34"/>
                  </a:lnTo>
                  <a:lnTo>
                    <a:pt x="0" y="56"/>
                  </a:lnTo>
                  <a:lnTo>
                    <a:pt x="0" y="56"/>
                  </a:lnTo>
                  <a:lnTo>
                    <a:pt x="6" y="56"/>
                  </a:lnTo>
                  <a:lnTo>
                    <a:pt x="6" y="56"/>
                  </a:lnTo>
                  <a:lnTo>
                    <a:pt x="10" y="56"/>
                  </a:lnTo>
                  <a:lnTo>
                    <a:pt x="10" y="56"/>
                  </a:lnTo>
                  <a:lnTo>
                    <a:pt x="30" y="70"/>
                  </a:lnTo>
                  <a:lnTo>
                    <a:pt x="34" y="84"/>
                  </a:lnTo>
                  <a:lnTo>
                    <a:pt x="34" y="84"/>
                  </a:lnTo>
                  <a:lnTo>
                    <a:pt x="36" y="92"/>
                  </a:lnTo>
                  <a:lnTo>
                    <a:pt x="40" y="98"/>
                  </a:lnTo>
                  <a:lnTo>
                    <a:pt x="70" y="88"/>
                  </a:lnTo>
                  <a:lnTo>
                    <a:pt x="70" y="84"/>
                  </a:lnTo>
                  <a:lnTo>
                    <a:pt x="70" y="84"/>
                  </a:lnTo>
                  <a:lnTo>
                    <a:pt x="68" y="82"/>
                  </a:lnTo>
                  <a:lnTo>
                    <a:pt x="66" y="78"/>
                  </a:lnTo>
                  <a:lnTo>
                    <a:pt x="64" y="76"/>
                  </a:lnTo>
                  <a:lnTo>
                    <a:pt x="64" y="76"/>
                  </a:lnTo>
                  <a:lnTo>
                    <a:pt x="64" y="60"/>
                  </a:lnTo>
                  <a:lnTo>
                    <a:pt x="64" y="60"/>
                  </a:lnTo>
                  <a:lnTo>
                    <a:pt x="64" y="46"/>
                  </a:lnTo>
                  <a:lnTo>
                    <a:pt x="64" y="46"/>
                  </a:lnTo>
                  <a:lnTo>
                    <a:pt x="54" y="26"/>
                  </a:lnTo>
                  <a:lnTo>
                    <a:pt x="54" y="26"/>
                  </a:lnTo>
                  <a:lnTo>
                    <a:pt x="64" y="16"/>
                  </a:lnTo>
                  <a:lnTo>
                    <a:pt x="64" y="16"/>
                  </a:lnTo>
                  <a:lnTo>
                    <a:pt x="78" y="4"/>
                  </a:lnTo>
                  <a:lnTo>
                    <a:pt x="52" y="0"/>
                  </a:lnTo>
                  <a:lnTo>
                    <a:pt x="32"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08" name="Freeform 517"/>
            <p:cNvSpPr>
              <a:spLocks/>
            </p:cNvSpPr>
            <p:nvPr/>
          </p:nvSpPr>
          <p:spPr bwMode="auto">
            <a:xfrm>
              <a:off x="7637463" y="3238177"/>
              <a:ext cx="85725" cy="104775"/>
            </a:xfrm>
            <a:custGeom>
              <a:avLst/>
              <a:gdLst/>
              <a:ahLst/>
              <a:cxnLst>
                <a:cxn ang="0">
                  <a:pos x="10" y="12"/>
                </a:cxn>
                <a:cxn ang="0">
                  <a:pos x="10" y="12"/>
                </a:cxn>
                <a:cxn ang="0">
                  <a:pos x="10" y="36"/>
                </a:cxn>
                <a:cxn ang="0">
                  <a:pos x="10" y="36"/>
                </a:cxn>
                <a:cxn ang="0">
                  <a:pos x="0" y="66"/>
                </a:cxn>
                <a:cxn ang="0">
                  <a:pos x="0" y="66"/>
                </a:cxn>
                <a:cxn ang="0">
                  <a:pos x="20" y="66"/>
                </a:cxn>
                <a:cxn ang="0">
                  <a:pos x="20" y="66"/>
                </a:cxn>
                <a:cxn ang="0">
                  <a:pos x="40" y="60"/>
                </a:cxn>
                <a:cxn ang="0">
                  <a:pos x="40" y="60"/>
                </a:cxn>
                <a:cxn ang="0">
                  <a:pos x="50" y="52"/>
                </a:cxn>
                <a:cxn ang="0">
                  <a:pos x="50" y="52"/>
                </a:cxn>
                <a:cxn ang="0">
                  <a:pos x="54" y="36"/>
                </a:cxn>
                <a:cxn ang="0">
                  <a:pos x="40" y="0"/>
                </a:cxn>
                <a:cxn ang="0">
                  <a:pos x="10" y="10"/>
                </a:cxn>
                <a:cxn ang="0">
                  <a:pos x="10" y="10"/>
                </a:cxn>
                <a:cxn ang="0">
                  <a:pos x="10" y="12"/>
                </a:cxn>
                <a:cxn ang="0">
                  <a:pos x="10" y="12"/>
                </a:cxn>
              </a:cxnLst>
              <a:rect l="0" t="0" r="r" b="b"/>
              <a:pathLst>
                <a:path w="54" h="66">
                  <a:moveTo>
                    <a:pt x="10" y="12"/>
                  </a:moveTo>
                  <a:lnTo>
                    <a:pt x="10" y="12"/>
                  </a:lnTo>
                  <a:lnTo>
                    <a:pt x="10" y="36"/>
                  </a:lnTo>
                  <a:lnTo>
                    <a:pt x="10" y="36"/>
                  </a:lnTo>
                  <a:lnTo>
                    <a:pt x="0" y="66"/>
                  </a:lnTo>
                  <a:lnTo>
                    <a:pt x="0" y="66"/>
                  </a:lnTo>
                  <a:lnTo>
                    <a:pt x="20" y="66"/>
                  </a:lnTo>
                  <a:lnTo>
                    <a:pt x="20" y="66"/>
                  </a:lnTo>
                  <a:lnTo>
                    <a:pt x="40" y="60"/>
                  </a:lnTo>
                  <a:lnTo>
                    <a:pt x="40" y="60"/>
                  </a:lnTo>
                  <a:lnTo>
                    <a:pt x="50" y="52"/>
                  </a:lnTo>
                  <a:lnTo>
                    <a:pt x="50" y="52"/>
                  </a:lnTo>
                  <a:lnTo>
                    <a:pt x="54" y="36"/>
                  </a:lnTo>
                  <a:lnTo>
                    <a:pt x="40" y="0"/>
                  </a:lnTo>
                  <a:lnTo>
                    <a:pt x="10" y="10"/>
                  </a:lnTo>
                  <a:lnTo>
                    <a:pt x="10" y="10"/>
                  </a:lnTo>
                  <a:lnTo>
                    <a:pt x="10" y="12"/>
                  </a:lnTo>
                  <a:lnTo>
                    <a:pt x="10" y="12"/>
                  </a:lnTo>
                  <a:close/>
                </a:path>
              </a:pathLst>
            </a:custGeom>
            <a:grpFill/>
            <a:ln w="9525"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09" name="Freeform 205"/>
            <p:cNvSpPr/>
            <p:nvPr/>
          </p:nvSpPr>
          <p:spPr bwMode="auto">
            <a:xfrm>
              <a:off x="5605434" y="3153150"/>
              <a:ext cx="100041" cy="64872"/>
            </a:xfrm>
            <a:custGeom>
              <a:avLst/>
              <a:gdLst>
                <a:gd name="connsiteX0" fmla="*/ 80991 w 100041"/>
                <a:gd name="connsiteY0" fmla="*/ 29465 h 64872"/>
                <a:gd name="connsiteX1" fmla="*/ 80991 w 100041"/>
                <a:gd name="connsiteY1" fmla="*/ 29465 h 64872"/>
                <a:gd name="connsiteX2" fmla="*/ 4791 w 100041"/>
                <a:gd name="connsiteY2" fmla="*/ 15177 h 64872"/>
                <a:gd name="connsiteX3" fmla="*/ 28 w 100041"/>
                <a:gd name="connsiteY3" fmla="*/ 29465 h 64872"/>
                <a:gd name="connsiteX4" fmla="*/ 4791 w 100041"/>
                <a:gd name="connsiteY4" fmla="*/ 58040 h 64872"/>
                <a:gd name="connsiteX5" fmla="*/ 19078 w 100041"/>
                <a:gd name="connsiteY5" fmla="*/ 62802 h 64872"/>
                <a:gd name="connsiteX6" fmla="*/ 66703 w 100041"/>
                <a:gd name="connsiteY6" fmla="*/ 58040 h 64872"/>
                <a:gd name="connsiteX7" fmla="*/ 85753 w 100041"/>
                <a:gd name="connsiteY7" fmla="*/ 62802 h 64872"/>
                <a:gd name="connsiteX8" fmla="*/ 100041 w 100041"/>
                <a:gd name="connsiteY8" fmla="*/ 34227 h 64872"/>
                <a:gd name="connsiteX9" fmla="*/ 85753 w 100041"/>
                <a:gd name="connsiteY9" fmla="*/ 24702 h 64872"/>
                <a:gd name="connsiteX10" fmla="*/ 71466 w 100041"/>
                <a:gd name="connsiteY10" fmla="*/ 19940 h 64872"/>
                <a:gd name="connsiteX11" fmla="*/ 80991 w 100041"/>
                <a:gd name="connsiteY11" fmla="*/ 29465 h 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41" h="64872">
                  <a:moveTo>
                    <a:pt x="80991" y="29465"/>
                  </a:moveTo>
                  <a:lnTo>
                    <a:pt x="80991" y="29465"/>
                  </a:lnTo>
                  <a:cubicBezTo>
                    <a:pt x="53583" y="17284"/>
                    <a:pt x="35146" y="0"/>
                    <a:pt x="4791" y="15177"/>
                  </a:cubicBezTo>
                  <a:cubicBezTo>
                    <a:pt x="301" y="17422"/>
                    <a:pt x="1616" y="24702"/>
                    <a:pt x="28" y="29465"/>
                  </a:cubicBezTo>
                  <a:cubicBezTo>
                    <a:pt x="1616" y="38990"/>
                    <a:pt x="0" y="49656"/>
                    <a:pt x="4791" y="58040"/>
                  </a:cubicBezTo>
                  <a:cubicBezTo>
                    <a:pt x="7282" y="62398"/>
                    <a:pt x="14058" y="62802"/>
                    <a:pt x="19078" y="62802"/>
                  </a:cubicBezTo>
                  <a:cubicBezTo>
                    <a:pt x="35032" y="62802"/>
                    <a:pt x="50828" y="59627"/>
                    <a:pt x="66703" y="58040"/>
                  </a:cubicBezTo>
                  <a:cubicBezTo>
                    <a:pt x="73053" y="59627"/>
                    <a:pt x="79543" y="64872"/>
                    <a:pt x="85753" y="62802"/>
                  </a:cubicBezTo>
                  <a:cubicBezTo>
                    <a:pt x="92677" y="60494"/>
                    <a:pt x="98192" y="39774"/>
                    <a:pt x="100041" y="34227"/>
                  </a:cubicBezTo>
                  <a:cubicBezTo>
                    <a:pt x="95278" y="31052"/>
                    <a:pt x="90873" y="27262"/>
                    <a:pt x="85753" y="24702"/>
                  </a:cubicBezTo>
                  <a:cubicBezTo>
                    <a:pt x="81263" y="22457"/>
                    <a:pt x="75482" y="22952"/>
                    <a:pt x="71466" y="19940"/>
                  </a:cubicBezTo>
                  <a:cubicBezTo>
                    <a:pt x="68626" y="17810"/>
                    <a:pt x="79404" y="27878"/>
                    <a:pt x="80991" y="29465"/>
                  </a:cubicBezTo>
                  <a:close/>
                </a:path>
              </a:pathLst>
            </a:custGeom>
            <a:grpFill/>
            <a:ln w="9525" cap="flat" cmpd="sng" algn="ctr">
              <a:solidFill>
                <a:srgbClr val="0085C3"/>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spcBef>
                  <a:spcPct val="15000"/>
                </a:spcBef>
              </a:pPr>
              <a:endParaRPr lang="en-US" sz="1400" b="1" dirty="0">
                <a:solidFill>
                  <a:srgbClr val="0085C3"/>
                </a:solidFill>
                <a:latin typeface="Arial" pitchFamily="-112" charset="0"/>
              </a:endParaRPr>
            </a:p>
          </p:txBody>
        </p:sp>
        <p:sp>
          <p:nvSpPr>
            <p:cNvPr id="210" name="Freeform 445"/>
            <p:cNvSpPr>
              <a:spLocks/>
            </p:cNvSpPr>
            <p:nvPr/>
          </p:nvSpPr>
          <p:spPr bwMode="auto">
            <a:xfrm>
              <a:off x="2864646" y="3889038"/>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1" name="Freeform 445"/>
            <p:cNvSpPr>
              <a:spLocks/>
            </p:cNvSpPr>
            <p:nvPr/>
          </p:nvSpPr>
          <p:spPr bwMode="auto">
            <a:xfrm>
              <a:off x="2924177" y="3931900"/>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2" name="Freeform 445"/>
            <p:cNvSpPr>
              <a:spLocks/>
            </p:cNvSpPr>
            <p:nvPr/>
          </p:nvSpPr>
          <p:spPr bwMode="auto">
            <a:xfrm>
              <a:off x="2776540" y="3839031"/>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3" name="Freeform 445"/>
            <p:cNvSpPr>
              <a:spLocks/>
            </p:cNvSpPr>
            <p:nvPr/>
          </p:nvSpPr>
          <p:spPr bwMode="auto">
            <a:xfrm>
              <a:off x="2945608" y="3984288"/>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4" name="Freeform 445"/>
            <p:cNvSpPr>
              <a:spLocks/>
            </p:cNvSpPr>
            <p:nvPr/>
          </p:nvSpPr>
          <p:spPr bwMode="auto">
            <a:xfrm>
              <a:off x="2693189" y="3455650"/>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5" name="Freeform 445"/>
            <p:cNvSpPr>
              <a:spLocks/>
            </p:cNvSpPr>
            <p:nvPr/>
          </p:nvSpPr>
          <p:spPr bwMode="auto">
            <a:xfrm>
              <a:off x="8113467" y="3608050"/>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6" name="Freeform 280"/>
            <p:cNvSpPr>
              <a:spLocks/>
            </p:cNvSpPr>
            <p:nvPr/>
          </p:nvSpPr>
          <p:spPr bwMode="auto">
            <a:xfrm>
              <a:off x="5351514" y="3395350"/>
              <a:ext cx="31750" cy="61912"/>
            </a:xfrm>
            <a:custGeom>
              <a:avLst/>
              <a:gdLst/>
              <a:ahLst/>
              <a:cxnLst>
                <a:cxn ang="0">
                  <a:pos x="0" y="48"/>
                </a:cxn>
                <a:cxn ang="0">
                  <a:pos x="6" y="6"/>
                </a:cxn>
                <a:cxn ang="0">
                  <a:pos x="18" y="0"/>
                </a:cxn>
                <a:cxn ang="0">
                  <a:pos x="24" y="24"/>
                </a:cxn>
                <a:cxn ang="0">
                  <a:pos x="24" y="48"/>
                </a:cxn>
                <a:cxn ang="0">
                  <a:pos x="0" y="48"/>
                </a:cxn>
              </a:cxnLst>
              <a:rect l="0" t="0" r="r" b="b"/>
              <a:pathLst>
                <a:path w="24" h="48">
                  <a:moveTo>
                    <a:pt x="0" y="48"/>
                  </a:moveTo>
                  <a:lnTo>
                    <a:pt x="6" y="6"/>
                  </a:lnTo>
                  <a:lnTo>
                    <a:pt x="18" y="0"/>
                  </a:lnTo>
                  <a:lnTo>
                    <a:pt x="24" y="24"/>
                  </a:lnTo>
                  <a:lnTo>
                    <a:pt x="24" y="48"/>
                  </a:lnTo>
                  <a:lnTo>
                    <a:pt x="0" y="48"/>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17" name="Freeform 445"/>
            <p:cNvSpPr>
              <a:spLocks/>
            </p:cNvSpPr>
            <p:nvPr/>
          </p:nvSpPr>
          <p:spPr bwMode="auto">
            <a:xfrm>
              <a:off x="2378815" y="3760466"/>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18" name="Freeform 281"/>
            <p:cNvSpPr>
              <a:spLocks/>
            </p:cNvSpPr>
            <p:nvPr/>
          </p:nvSpPr>
          <p:spPr bwMode="auto">
            <a:xfrm>
              <a:off x="5734143" y="3565237"/>
              <a:ext cx="39687" cy="47625"/>
            </a:xfrm>
            <a:custGeom>
              <a:avLst/>
              <a:gdLst/>
              <a:ahLst/>
              <a:cxnLst>
                <a:cxn ang="0">
                  <a:pos x="0" y="12"/>
                </a:cxn>
                <a:cxn ang="0">
                  <a:pos x="24" y="0"/>
                </a:cxn>
                <a:cxn ang="0">
                  <a:pos x="30" y="24"/>
                </a:cxn>
                <a:cxn ang="0">
                  <a:pos x="24" y="37"/>
                </a:cxn>
                <a:cxn ang="0">
                  <a:pos x="0" y="12"/>
                </a:cxn>
              </a:cxnLst>
              <a:rect l="0" t="0" r="r" b="b"/>
              <a:pathLst>
                <a:path w="30" h="37">
                  <a:moveTo>
                    <a:pt x="0" y="12"/>
                  </a:moveTo>
                  <a:lnTo>
                    <a:pt x="24" y="0"/>
                  </a:lnTo>
                  <a:lnTo>
                    <a:pt x="30" y="24"/>
                  </a:lnTo>
                  <a:lnTo>
                    <a:pt x="24" y="37"/>
                  </a:lnTo>
                  <a:lnTo>
                    <a:pt x="0" y="12"/>
                  </a:lnTo>
                  <a:close/>
                </a:path>
              </a:pathLst>
            </a:custGeom>
            <a:grpFill/>
            <a:ln w="9525">
              <a:solidFill>
                <a:srgbClr val="0085C3"/>
              </a:solidFill>
              <a:round/>
              <a:headEnd/>
              <a:tailEnd/>
            </a:ln>
          </p:spPr>
          <p:txBody>
            <a:bodyPr/>
            <a:lstStyle/>
            <a:p>
              <a:endParaRPr lang="en-US" dirty="0">
                <a:solidFill>
                  <a:srgbClr val="444444"/>
                </a:solidFill>
              </a:endParaRPr>
            </a:p>
          </p:txBody>
        </p:sp>
        <p:sp>
          <p:nvSpPr>
            <p:cNvPr id="226" name="Freeform 445"/>
            <p:cNvSpPr>
              <a:spLocks/>
            </p:cNvSpPr>
            <p:nvPr/>
          </p:nvSpPr>
          <p:spPr bwMode="auto">
            <a:xfrm>
              <a:off x="467366" y="3628214"/>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27" name="Freeform 445"/>
            <p:cNvSpPr>
              <a:spLocks/>
            </p:cNvSpPr>
            <p:nvPr/>
          </p:nvSpPr>
          <p:spPr bwMode="auto">
            <a:xfrm>
              <a:off x="491729" y="3662284"/>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sp>
          <p:nvSpPr>
            <p:cNvPr id="228" name="Freeform 445"/>
            <p:cNvSpPr>
              <a:spLocks/>
            </p:cNvSpPr>
            <p:nvPr/>
          </p:nvSpPr>
          <p:spPr bwMode="auto">
            <a:xfrm>
              <a:off x="513160" y="3705880"/>
              <a:ext cx="36512" cy="19050"/>
            </a:xfrm>
            <a:custGeom>
              <a:avLst/>
              <a:gdLst/>
              <a:ahLst/>
              <a:cxnLst>
                <a:cxn ang="0">
                  <a:pos x="2" y="0"/>
                </a:cxn>
                <a:cxn ang="0">
                  <a:pos x="23" y="1"/>
                </a:cxn>
                <a:cxn ang="0">
                  <a:pos x="21" y="18"/>
                </a:cxn>
                <a:cxn ang="0">
                  <a:pos x="0" y="13"/>
                </a:cxn>
                <a:cxn ang="0">
                  <a:pos x="2" y="0"/>
                </a:cxn>
              </a:cxnLst>
              <a:rect l="0" t="0" r="r" b="b"/>
              <a:pathLst>
                <a:path w="23" h="18">
                  <a:moveTo>
                    <a:pt x="2" y="0"/>
                  </a:moveTo>
                  <a:lnTo>
                    <a:pt x="23" y="1"/>
                  </a:lnTo>
                  <a:lnTo>
                    <a:pt x="21" y="18"/>
                  </a:lnTo>
                  <a:lnTo>
                    <a:pt x="0" y="13"/>
                  </a:lnTo>
                  <a:lnTo>
                    <a:pt x="2" y="0"/>
                  </a:lnTo>
                  <a:close/>
                </a:path>
              </a:pathLst>
            </a:custGeom>
            <a:grpFill/>
            <a:ln w="6350" cap="flat" cmpd="sng">
              <a:solidFill>
                <a:srgbClr val="0085C3"/>
              </a:solidFill>
              <a:prstDash val="solid"/>
              <a:round/>
              <a:headEnd type="none" w="med" len="med"/>
              <a:tailEnd type="none" w="med" len="med"/>
            </a:ln>
            <a:effectLst/>
          </p:spPr>
          <p:txBody>
            <a:bodyPr/>
            <a:lstStyle/>
            <a:p>
              <a:endParaRPr lang="en-US" dirty="0">
                <a:solidFill>
                  <a:srgbClr val="444444"/>
                </a:solidFill>
              </a:endParaRPr>
            </a:p>
          </p:txBody>
        </p:sp>
      </p:grpSp>
      <p:grpSp>
        <p:nvGrpSpPr>
          <p:cNvPr id="231" name="Group 230"/>
          <p:cNvGrpSpPr/>
          <p:nvPr/>
        </p:nvGrpSpPr>
        <p:grpSpPr>
          <a:xfrm>
            <a:off x="267662" y="3864629"/>
            <a:ext cx="2800678" cy="1200329"/>
            <a:chOff x="6343323" y="0"/>
            <a:chExt cx="2800678" cy="1200329"/>
          </a:xfrm>
        </p:grpSpPr>
        <p:sp>
          <p:nvSpPr>
            <p:cNvPr id="256" name="Text Box 36"/>
            <p:cNvSpPr txBox="1">
              <a:spLocks noChangeArrowheads="1"/>
            </p:cNvSpPr>
            <p:nvPr/>
          </p:nvSpPr>
          <p:spPr bwMode="auto">
            <a:xfrm>
              <a:off x="6343323" y="0"/>
              <a:ext cx="2800678" cy="1200329"/>
            </a:xfrm>
            <a:prstGeom prst="rect">
              <a:avLst/>
            </a:prstGeom>
            <a:noFill/>
            <a:ln w="9525">
              <a:noFill/>
              <a:miter lim="800000"/>
              <a:headEnd/>
              <a:tailEnd/>
            </a:ln>
          </p:spPr>
          <p:txBody>
            <a:bodyPr wrap="square">
              <a:spAutoFit/>
            </a:bodyPr>
            <a:lstStyle/>
            <a:p>
              <a:pPr marL="228600" indent="-228600" eaLnBrk="0" hangingPunct="0">
                <a:lnSpc>
                  <a:spcPct val="150000"/>
                </a:lnSpc>
                <a:buFont typeface="Times"/>
                <a:buChar char="•"/>
              </a:pPr>
              <a:r>
                <a:rPr lang="en-US" sz="1200" dirty="0" smtClean="0">
                  <a:solidFill>
                    <a:srgbClr val="000000"/>
                  </a:solidFill>
                  <a:latin typeface="Museo Sans For Dell"/>
                  <a:cs typeface="Arial" pitchFamily="34" charset="0"/>
                </a:rPr>
                <a:t>SOC and Data Center </a:t>
              </a:r>
            </a:p>
            <a:p>
              <a:pPr marL="228600" indent="-228600" eaLnBrk="0" hangingPunct="0">
                <a:lnSpc>
                  <a:spcPct val="150000"/>
                </a:lnSpc>
                <a:buFont typeface="Times"/>
                <a:buChar char="•"/>
              </a:pPr>
              <a:r>
                <a:rPr lang="en-US" sz="1200" dirty="0" smtClean="0">
                  <a:solidFill>
                    <a:srgbClr val="000000"/>
                  </a:solidFill>
                  <a:latin typeface="Museo Sans For Dell"/>
                </a:rPr>
                <a:t>SOC </a:t>
              </a:r>
            </a:p>
            <a:p>
              <a:pPr marL="228600" indent="-228600" eaLnBrk="0" hangingPunct="0">
                <a:lnSpc>
                  <a:spcPct val="150000"/>
                </a:lnSpc>
                <a:buFont typeface="Times"/>
                <a:buChar char="•"/>
              </a:pPr>
              <a:r>
                <a:rPr lang="en-US" sz="1200" dirty="0" smtClean="0">
                  <a:solidFill>
                    <a:srgbClr val="000000"/>
                  </a:solidFill>
                  <a:latin typeface="Museo Sans For Dell"/>
                </a:rPr>
                <a:t>Additional Staff</a:t>
              </a:r>
            </a:p>
            <a:p>
              <a:pPr marL="228600" indent="-228600" eaLnBrk="0" hangingPunct="0">
                <a:lnSpc>
                  <a:spcPct val="150000"/>
                </a:lnSpc>
                <a:buFont typeface="Times"/>
                <a:buChar char="•"/>
              </a:pPr>
              <a:r>
                <a:rPr lang="en-US" sz="1200" dirty="0" smtClean="0">
                  <a:solidFill>
                    <a:srgbClr val="000000"/>
                  </a:solidFill>
                  <a:latin typeface="Museo Sans For Dell"/>
                </a:rPr>
                <a:t>Data Center</a:t>
              </a:r>
            </a:p>
          </p:txBody>
        </p:sp>
        <p:sp>
          <p:nvSpPr>
            <p:cNvPr id="263" name="AutoShape 32"/>
            <p:cNvSpPr>
              <a:spLocks noChangeArrowheads="1"/>
            </p:cNvSpPr>
            <p:nvPr/>
          </p:nvSpPr>
          <p:spPr bwMode="auto">
            <a:xfrm>
              <a:off x="6421950" y="148624"/>
              <a:ext cx="100584" cy="100584"/>
            </a:xfrm>
            <a:prstGeom prst="ellipse">
              <a:avLst/>
            </a:prstGeom>
            <a:solidFill>
              <a:schemeClr val="tx1">
                <a:lumMod val="60000"/>
                <a:lumOff val="40000"/>
              </a:schemeClr>
            </a:solidFill>
            <a:ln>
              <a:solidFill>
                <a:schemeClr val="tx1">
                  <a:lumMod val="60000"/>
                  <a:lumOff val="4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lnSpc>
                  <a:spcPct val="150000"/>
                </a:lnSpc>
                <a:defRPr/>
              </a:pPr>
              <a:endParaRPr lang="en-US" sz="1200" dirty="0">
                <a:solidFill>
                  <a:srgbClr val="000000"/>
                </a:solidFill>
              </a:endParaRPr>
            </a:p>
          </p:txBody>
        </p:sp>
        <p:sp>
          <p:nvSpPr>
            <p:cNvPr id="273" name="AutoShape 32"/>
            <p:cNvSpPr>
              <a:spLocks noChangeArrowheads="1"/>
            </p:cNvSpPr>
            <p:nvPr/>
          </p:nvSpPr>
          <p:spPr bwMode="auto">
            <a:xfrm>
              <a:off x="6421950" y="694931"/>
              <a:ext cx="100584" cy="100584"/>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lnSpc>
                  <a:spcPct val="150000"/>
                </a:lnSpc>
              </a:pPr>
              <a:endParaRPr lang="en-US" sz="1200" dirty="0">
                <a:solidFill>
                  <a:srgbClr val="000000"/>
                </a:solidFill>
              </a:endParaRPr>
            </a:p>
          </p:txBody>
        </p:sp>
        <p:sp>
          <p:nvSpPr>
            <p:cNvPr id="274" name="AutoShape 32"/>
            <p:cNvSpPr>
              <a:spLocks noChangeArrowheads="1"/>
            </p:cNvSpPr>
            <p:nvPr/>
          </p:nvSpPr>
          <p:spPr bwMode="auto">
            <a:xfrm>
              <a:off x="6421950" y="407158"/>
              <a:ext cx="100584" cy="100584"/>
            </a:xfrm>
            <a:prstGeom prst="ellipse">
              <a:avLst/>
            </a:prstGeom>
            <a:solidFill>
              <a:schemeClr val="accent2"/>
            </a:solidFill>
            <a:ln>
              <a:solidFill>
                <a:schemeClr val="accent2"/>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lnSpc>
                  <a:spcPct val="150000"/>
                </a:lnSpc>
              </a:pPr>
              <a:endParaRPr lang="en-US" sz="1200" dirty="0">
                <a:solidFill>
                  <a:srgbClr val="000000"/>
                </a:solidFill>
              </a:endParaRPr>
            </a:p>
          </p:txBody>
        </p:sp>
      </p:grpSp>
      <p:grpSp>
        <p:nvGrpSpPr>
          <p:cNvPr id="7" name="Group 6"/>
          <p:cNvGrpSpPr/>
          <p:nvPr/>
        </p:nvGrpSpPr>
        <p:grpSpPr>
          <a:xfrm>
            <a:off x="2544257" y="2586827"/>
            <a:ext cx="1740665" cy="564944"/>
            <a:chOff x="2408462" y="2498660"/>
            <a:chExt cx="1740665" cy="564944"/>
          </a:xfrm>
        </p:grpSpPr>
        <p:sp>
          <p:nvSpPr>
            <p:cNvPr id="260" name="AutoShape 32"/>
            <p:cNvSpPr>
              <a:spLocks noChangeArrowheads="1"/>
            </p:cNvSpPr>
            <p:nvPr/>
          </p:nvSpPr>
          <p:spPr bwMode="auto">
            <a:xfrm flipH="1" flipV="1">
              <a:off x="2617676" y="2498660"/>
              <a:ext cx="100584" cy="97653"/>
            </a:xfrm>
            <a:prstGeom prst="ellipse">
              <a:avLst/>
            </a:prstGeom>
            <a:solidFill>
              <a:schemeClr val="accent2"/>
            </a:solidFill>
            <a:ln>
              <a:solidFill>
                <a:schemeClr val="accent2"/>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2AF00">
                    <a:lumMod val="40000"/>
                    <a:lumOff val="60000"/>
                  </a:srgbClr>
                </a:solidFill>
              </a:endParaRPr>
            </a:p>
          </p:txBody>
        </p:sp>
        <p:sp>
          <p:nvSpPr>
            <p:cNvPr id="261" name="Line 62"/>
            <p:cNvSpPr>
              <a:spLocks noChangeShapeType="1"/>
            </p:cNvSpPr>
            <p:nvPr/>
          </p:nvSpPr>
          <p:spPr bwMode="auto">
            <a:xfrm>
              <a:off x="2758382" y="2605174"/>
              <a:ext cx="213418" cy="109451"/>
            </a:xfrm>
            <a:prstGeom prst="line">
              <a:avLst/>
            </a:prstGeom>
            <a:noFill/>
            <a:ln w="9525">
              <a:solidFill>
                <a:schemeClr val="accent2"/>
              </a:solidFill>
              <a:round/>
              <a:headEnd/>
              <a:tailEnd/>
            </a:ln>
          </p:spPr>
          <p:txBody>
            <a:bodyPr wrap="square">
              <a:spAutoFit/>
            </a:bodyPr>
            <a:lstStyle/>
            <a:p>
              <a:endParaRPr lang="en-US" dirty="0">
                <a:solidFill>
                  <a:srgbClr val="FFFFFF"/>
                </a:solidFill>
              </a:endParaRPr>
            </a:p>
          </p:txBody>
        </p:sp>
        <p:sp>
          <p:nvSpPr>
            <p:cNvPr id="262" name="Text Box 58"/>
            <p:cNvSpPr txBox="1">
              <a:spLocks noChangeArrowheads="1"/>
            </p:cNvSpPr>
            <p:nvPr/>
          </p:nvSpPr>
          <p:spPr bwMode="auto">
            <a:xfrm>
              <a:off x="2906094" y="2596543"/>
              <a:ext cx="1243033"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7AB800"/>
                  </a:solidFill>
                  <a:cs typeface="Arial" charset="0"/>
                </a:rPr>
                <a:t>Providence, RI</a:t>
              </a:r>
              <a:endParaRPr lang="en-US" sz="1200" b="1" dirty="0">
                <a:solidFill>
                  <a:srgbClr val="7AB800"/>
                </a:solidFill>
                <a:cs typeface="Arial" charset="0"/>
              </a:endParaRPr>
            </a:p>
          </p:txBody>
        </p:sp>
        <p:sp>
          <p:nvSpPr>
            <p:cNvPr id="264" name="AutoShape 32"/>
            <p:cNvSpPr>
              <a:spLocks noChangeArrowheads="1"/>
            </p:cNvSpPr>
            <p:nvPr/>
          </p:nvSpPr>
          <p:spPr bwMode="auto">
            <a:xfrm flipH="1" flipV="1">
              <a:off x="2408462" y="2710186"/>
              <a:ext cx="100584" cy="97653"/>
            </a:xfrm>
            <a:prstGeom prst="ellipse">
              <a:avLst/>
            </a:prstGeom>
            <a:solidFill>
              <a:schemeClr val="accent2"/>
            </a:solidFill>
            <a:ln>
              <a:solidFill>
                <a:schemeClr val="accent2"/>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2AF00">
                    <a:lumMod val="40000"/>
                    <a:lumOff val="60000"/>
                  </a:srgbClr>
                </a:solidFill>
              </a:endParaRPr>
            </a:p>
          </p:txBody>
        </p:sp>
        <p:sp>
          <p:nvSpPr>
            <p:cNvPr id="265" name="Line 62"/>
            <p:cNvSpPr>
              <a:spLocks noChangeShapeType="1"/>
            </p:cNvSpPr>
            <p:nvPr/>
          </p:nvSpPr>
          <p:spPr bwMode="auto">
            <a:xfrm>
              <a:off x="2553211" y="2795842"/>
              <a:ext cx="182880" cy="103571"/>
            </a:xfrm>
            <a:prstGeom prst="line">
              <a:avLst/>
            </a:prstGeom>
            <a:noFill/>
            <a:ln w="9525">
              <a:solidFill>
                <a:schemeClr val="accent2"/>
              </a:solidFill>
              <a:round/>
              <a:headEnd/>
              <a:tailEnd/>
            </a:ln>
          </p:spPr>
          <p:txBody>
            <a:bodyPr wrap="square">
              <a:spAutoFit/>
            </a:bodyPr>
            <a:lstStyle/>
            <a:p>
              <a:endParaRPr lang="en-US" dirty="0">
                <a:solidFill>
                  <a:srgbClr val="FFFFFF"/>
                </a:solidFill>
              </a:endParaRPr>
            </a:p>
          </p:txBody>
        </p:sp>
        <p:sp>
          <p:nvSpPr>
            <p:cNvPr id="266" name="Text Box 58"/>
            <p:cNvSpPr txBox="1">
              <a:spLocks noChangeArrowheads="1"/>
            </p:cNvSpPr>
            <p:nvPr/>
          </p:nvSpPr>
          <p:spPr bwMode="auto">
            <a:xfrm>
              <a:off x="2657564" y="2786605"/>
              <a:ext cx="1417632"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7AB800"/>
                  </a:solidFill>
                  <a:cs typeface="Arial" charset="0"/>
                </a:rPr>
                <a:t>Myrtle Beach, SC</a:t>
              </a:r>
              <a:endParaRPr lang="en-US" sz="1200" b="1" dirty="0">
                <a:solidFill>
                  <a:srgbClr val="7AB800"/>
                </a:solidFill>
                <a:cs typeface="Arial" charset="0"/>
              </a:endParaRPr>
            </a:p>
          </p:txBody>
        </p:sp>
      </p:grpSp>
      <p:grpSp>
        <p:nvGrpSpPr>
          <p:cNvPr id="230" name="Group 229"/>
          <p:cNvGrpSpPr/>
          <p:nvPr/>
        </p:nvGrpSpPr>
        <p:grpSpPr>
          <a:xfrm>
            <a:off x="730546" y="1164188"/>
            <a:ext cx="4672848" cy="2164478"/>
            <a:chOff x="594751" y="1076021"/>
            <a:chExt cx="4672848" cy="2164478"/>
          </a:xfrm>
        </p:grpSpPr>
        <p:sp>
          <p:nvSpPr>
            <p:cNvPr id="259" name="Line 62"/>
            <p:cNvSpPr>
              <a:spLocks noChangeShapeType="1"/>
            </p:cNvSpPr>
            <p:nvPr/>
          </p:nvSpPr>
          <p:spPr bwMode="auto">
            <a:xfrm>
              <a:off x="2354431" y="2823285"/>
              <a:ext cx="284086" cy="195308"/>
            </a:xfrm>
            <a:prstGeom prst="line">
              <a:avLst/>
            </a:prstGeom>
            <a:noFill/>
            <a:ln w="9525">
              <a:solidFill>
                <a:schemeClr val="tx1">
                  <a:lumMod val="60000"/>
                  <a:lumOff val="40000"/>
                </a:schemeClr>
              </a:solidFill>
              <a:round/>
              <a:headEnd/>
              <a:tailEnd/>
            </a:ln>
          </p:spPr>
          <p:txBody>
            <a:bodyPr wrap="square">
              <a:spAutoFit/>
            </a:bodyPr>
            <a:lstStyle/>
            <a:p>
              <a:endParaRPr lang="en-US" dirty="0">
                <a:solidFill>
                  <a:srgbClr val="FFFFFF"/>
                </a:solidFill>
              </a:endParaRPr>
            </a:p>
          </p:txBody>
        </p:sp>
        <p:grpSp>
          <p:nvGrpSpPr>
            <p:cNvPr id="229" name="Group 228"/>
            <p:cNvGrpSpPr/>
            <p:nvPr/>
          </p:nvGrpSpPr>
          <p:grpSpPr>
            <a:xfrm>
              <a:off x="594751" y="1076021"/>
              <a:ext cx="4672848" cy="2164478"/>
              <a:chOff x="594751" y="1076021"/>
              <a:chExt cx="4672848" cy="2164478"/>
            </a:xfrm>
          </p:grpSpPr>
          <p:sp>
            <p:nvSpPr>
              <p:cNvPr id="247" name="Line 66"/>
              <p:cNvSpPr>
                <a:spLocks noChangeShapeType="1"/>
              </p:cNvSpPr>
              <p:nvPr/>
            </p:nvSpPr>
            <p:spPr bwMode="auto">
              <a:xfrm flipH="1" flipV="1">
                <a:off x="4171950" y="1419224"/>
                <a:ext cx="19050" cy="552449"/>
              </a:xfrm>
              <a:prstGeom prst="line">
                <a:avLst/>
              </a:prstGeom>
              <a:noFill/>
              <a:ln w="9525">
                <a:solidFill>
                  <a:schemeClr val="tx1">
                    <a:lumMod val="60000"/>
                    <a:lumOff val="40000"/>
                  </a:schemeClr>
                </a:solidFill>
                <a:round/>
                <a:headEnd/>
                <a:tailEnd/>
              </a:ln>
            </p:spPr>
            <p:txBody>
              <a:bodyPr wrap="square">
                <a:spAutoFit/>
              </a:bodyPr>
              <a:lstStyle/>
              <a:p>
                <a:endParaRPr lang="en-US" dirty="0">
                  <a:solidFill>
                    <a:srgbClr val="FFFFFF"/>
                  </a:solidFill>
                </a:endParaRPr>
              </a:p>
            </p:txBody>
          </p:sp>
          <p:grpSp>
            <p:nvGrpSpPr>
              <p:cNvPr id="4" name="Group 3"/>
              <p:cNvGrpSpPr/>
              <p:nvPr/>
            </p:nvGrpSpPr>
            <p:grpSpPr>
              <a:xfrm>
                <a:off x="594751" y="1076021"/>
                <a:ext cx="4672848" cy="2164478"/>
                <a:chOff x="594751" y="1076021"/>
                <a:chExt cx="4672848" cy="2164478"/>
              </a:xfrm>
            </p:grpSpPr>
            <p:sp>
              <p:nvSpPr>
                <p:cNvPr id="246" name="Text Box 65"/>
                <p:cNvSpPr txBox="1">
                  <a:spLocks noChangeArrowheads="1"/>
                </p:cNvSpPr>
                <p:nvPr/>
              </p:nvSpPr>
              <p:spPr bwMode="auto">
                <a:xfrm>
                  <a:off x="3575982" y="1076021"/>
                  <a:ext cx="1691617" cy="276999"/>
                </a:xfrm>
                <a:prstGeom prst="rect">
                  <a:avLst/>
                </a:prstGeom>
                <a:noFill/>
                <a:ln w="9525" algn="ctr">
                  <a:noFill/>
                  <a:miter lim="800000"/>
                  <a:headEnd/>
                  <a:tailEnd/>
                </a:ln>
              </p:spPr>
              <p:txBody>
                <a:bodyPr wrap="none">
                  <a:spAutoFit/>
                </a:bodyPr>
                <a:lstStyle>
                  <a:defPPr>
                    <a:defRPr lang="en-US"/>
                  </a:defPPr>
                  <a:lvl1pPr fontAlgn="base">
                    <a:spcBef>
                      <a:spcPct val="50000"/>
                    </a:spcBef>
                    <a:spcAft>
                      <a:spcPct val="0"/>
                    </a:spcAft>
                    <a:defRPr sz="1200" b="1">
                      <a:solidFill>
                        <a:schemeClr val="tx1">
                          <a:lumMod val="60000"/>
                          <a:lumOff val="40000"/>
                        </a:schemeClr>
                      </a:solidFill>
                      <a:latin typeface="Museo For Dell"/>
                      <a:cs typeface="Arial" charset="0"/>
                    </a:defRPr>
                  </a:lvl1pPr>
                </a:lstStyle>
                <a:p>
                  <a:r>
                    <a:rPr lang="en-US" dirty="0">
                      <a:solidFill>
                        <a:srgbClr val="444444">
                          <a:lumMod val="60000"/>
                          <a:lumOff val="40000"/>
                        </a:srgbClr>
                      </a:solidFill>
                      <a:latin typeface="Museo Sans For Dell"/>
                    </a:rPr>
                    <a:t>Edinburgh, Scotland</a:t>
                  </a:r>
                </a:p>
              </p:txBody>
            </p:sp>
            <p:sp>
              <p:nvSpPr>
                <p:cNvPr id="253" name="AutoShape 31"/>
                <p:cNvSpPr>
                  <a:spLocks noChangeArrowheads="1"/>
                </p:cNvSpPr>
                <p:nvPr/>
              </p:nvSpPr>
              <p:spPr bwMode="auto">
                <a:xfrm>
                  <a:off x="4157144" y="2038189"/>
                  <a:ext cx="91412" cy="91438"/>
                </a:xfrm>
                <a:prstGeom prst="ellipse">
                  <a:avLst/>
                </a:prstGeom>
                <a:solidFill>
                  <a:schemeClr val="tx1">
                    <a:lumMod val="60000"/>
                    <a:lumOff val="40000"/>
                  </a:schemeClr>
                </a:solidFill>
                <a:ln>
                  <a:solidFill>
                    <a:schemeClr val="tx1">
                      <a:lumMod val="60000"/>
                      <a:lumOff val="4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endParaRPr lang="en-US" dirty="0">
                    <a:solidFill>
                      <a:srgbClr val="FFFFFF"/>
                    </a:solidFill>
                  </a:endParaRPr>
                </a:p>
              </p:txBody>
            </p:sp>
            <p:sp>
              <p:nvSpPr>
                <p:cNvPr id="257" name="AutoShape 32"/>
                <p:cNvSpPr>
                  <a:spLocks noChangeArrowheads="1"/>
                </p:cNvSpPr>
                <p:nvPr/>
              </p:nvSpPr>
              <p:spPr bwMode="auto">
                <a:xfrm flipH="1" flipV="1">
                  <a:off x="2243116" y="2716752"/>
                  <a:ext cx="100584" cy="97653"/>
                </a:xfrm>
                <a:prstGeom prst="ellipse">
                  <a:avLst/>
                </a:prstGeom>
                <a:solidFill>
                  <a:schemeClr val="tx1">
                    <a:lumMod val="60000"/>
                    <a:lumOff val="40000"/>
                  </a:schemeClr>
                </a:solidFill>
                <a:ln>
                  <a:solidFill>
                    <a:schemeClr val="tx1">
                      <a:lumMod val="60000"/>
                      <a:lumOff val="4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sp>
              <p:nvSpPr>
                <p:cNvPr id="258" name="Text Box 58"/>
                <p:cNvSpPr txBox="1">
                  <a:spLocks noChangeArrowheads="1"/>
                </p:cNvSpPr>
                <p:nvPr/>
              </p:nvSpPr>
              <p:spPr bwMode="auto">
                <a:xfrm>
                  <a:off x="2563564" y="2963500"/>
                  <a:ext cx="1018484" cy="276999"/>
                </a:xfrm>
                <a:prstGeom prst="rect">
                  <a:avLst/>
                </a:prstGeom>
                <a:noFill/>
                <a:ln w="9525" algn="ctr">
                  <a:noFill/>
                  <a:miter lim="800000"/>
                  <a:headEnd/>
                  <a:tailEnd/>
                </a:ln>
              </p:spPr>
              <p:txBody>
                <a:bodyPr wrap="none">
                  <a:spAutoFit/>
                </a:bodyPr>
                <a:lstStyle>
                  <a:defPPr>
                    <a:defRPr lang="en-US"/>
                  </a:defPPr>
                  <a:lvl1pPr fontAlgn="base">
                    <a:spcBef>
                      <a:spcPct val="50000"/>
                    </a:spcBef>
                    <a:spcAft>
                      <a:spcPct val="0"/>
                    </a:spcAft>
                    <a:defRPr sz="1200" b="1">
                      <a:solidFill>
                        <a:schemeClr val="tx1">
                          <a:lumMod val="60000"/>
                          <a:lumOff val="40000"/>
                        </a:schemeClr>
                      </a:solidFill>
                      <a:latin typeface="Museo For Dell"/>
                      <a:cs typeface="Arial" charset="0"/>
                    </a:defRPr>
                  </a:lvl1pPr>
                </a:lstStyle>
                <a:p>
                  <a:r>
                    <a:rPr lang="en-US" dirty="0">
                      <a:solidFill>
                        <a:srgbClr val="444444">
                          <a:lumMod val="60000"/>
                          <a:lumOff val="40000"/>
                        </a:srgbClr>
                      </a:solidFill>
                      <a:latin typeface="Museo Sans For Dell"/>
                    </a:rPr>
                    <a:t>Atlanta, GA</a:t>
                  </a:r>
                </a:p>
              </p:txBody>
            </p:sp>
            <p:sp>
              <p:nvSpPr>
                <p:cNvPr id="267" name="AutoShape 32"/>
                <p:cNvSpPr>
                  <a:spLocks noChangeArrowheads="1"/>
                </p:cNvSpPr>
                <p:nvPr/>
              </p:nvSpPr>
              <p:spPr bwMode="auto">
                <a:xfrm flipH="1" flipV="1">
                  <a:off x="2153878" y="2430263"/>
                  <a:ext cx="100584" cy="97653"/>
                </a:xfrm>
                <a:prstGeom prst="ellipse">
                  <a:avLst/>
                </a:prstGeom>
                <a:solidFill>
                  <a:srgbClr val="92D050"/>
                </a:solidFill>
                <a:ln>
                  <a:solidFill>
                    <a:srgbClr val="92D050"/>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sp>
              <p:nvSpPr>
                <p:cNvPr id="268" name="Line 62"/>
                <p:cNvSpPr>
                  <a:spLocks noChangeShapeType="1"/>
                </p:cNvSpPr>
                <p:nvPr/>
              </p:nvSpPr>
              <p:spPr bwMode="auto">
                <a:xfrm flipV="1">
                  <a:off x="1404504" y="2514601"/>
                  <a:ext cx="710046" cy="144894"/>
                </a:xfrm>
                <a:prstGeom prst="line">
                  <a:avLst/>
                </a:prstGeom>
                <a:noFill/>
                <a:ln w="9525">
                  <a:solidFill>
                    <a:schemeClr val="tx1">
                      <a:lumMod val="60000"/>
                      <a:lumOff val="40000"/>
                    </a:schemeClr>
                  </a:solidFill>
                  <a:round/>
                  <a:headEnd/>
                  <a:tailEnd/>
                </a:ln>
              </p:spPr>
              <p:txBody>
                <a:bodyPr wrap="square">
                  <a:spAutoFit/>
                </a:bodyPr>
                <a:lstStyle/>
                <a:p>
                  <a:endParaRPr lang="en-US" dirty="0">
                    <a:solidFill>
                      <a:srgbClr val="FFFFFF"/>
                    </a:solidFill>
                  </a:endParaRPr>
                </a:p>
              </p:txBody>
            </p:sp>
            <p:sp>
              <p:nvSpPr>
                <p:cNvPr id="269" name="Text Box 58"/>
                <p:cNvSpPr txBox="1">
                  <a:spLocks noChangeArrowheads="1"/>
                </p:cNvSpPr>
                <p:nvPr/>
              </p:nvSpPr>
              <p:spPr bwMode="auto">
                <a:xfrm>
                  <a:off x="594751" y="2590068"/>
                  <a:ext cx="1016176"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444444">
                          <a:lumMod val="60000"/>
                          <a:lumOff val="40000"/>
                        </a:srgbClr>
                      </a:solidFill>
                      <a:cs typeface="Arial" charset="0"/>
                    </a:rPr>
                    <a:t>Chicago, IL</a:t>
                  </a:r>
                  <a:endParaRPr lang="en-US" sz="1200" b="1" dirty="0">
                    <a:solidFill>
                      <a:srgbClr val="444444">
                        <a:lumMod val="60000"/>
                        <a:lumOff val="40000"/>
                      </a:srgbClr>
                    </a:solidFill>
                    <a:cs typeface="Arial" charset="0"/>
                  </a:endParaRPr>
                </a:p>
              </p:txBody>
            </p:sp>
          </p:grpSp>
        </p:grpSp>
      </p:grpSp>
      <p:grpSp>
        <p:nvGrpSpPr>
          <p:cNvPr id="225" name="Group 224"/>
          <p:cNvGrpSpPr/>
          <p:nvPr/>
        </p:nvGrpSpPr>
        <p:grpSpPr>
          <a:xfrm>
            <a:off x="4898295" y="2125164"/>
            <a:ext cx="2012631" cy="1888076"/>
            <a:chOff x="4762500" y="2036998"/>
            <a:chExt cx="2012631" cy="1888076"/>
          </a:xfrm>
        </p:grpSpPr>
        <p:sp>
          <p:nvSpPr>
            <p:cNvPr id="252" name="AutoShape 30"/>
            <p:cNvSpPr>
              <a:spLocks noChangeArrowheads="1"/>
            </p:cNvSpPr>
            <p:nvPr/>
          </p:nvSpPr>
          <p:spPr bwMode="auto">
            <a:xfrm>
              <a:off x="4762500" y="2447925"/>
              <a:ext cx="91440" cy="91440"/>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grpSp>
          <p:nvGrpSpPr>
            <p:cNvPr id="224" name="Group 223"/>
            <p:cNvGrpSpPr/>
            <p:nvPr/>
          </p:nvGrpSpPr>
          <p:grpSpPr>
            <a:xfrm>
              <a:off x="4865022" y="2036998"/>
              <a:ext cx="1910109" cy="1888076"/>
              <a:chOff x="4865022" y="2036998"/>
              <a:chExt cx="1910109" cy="1888076"/>
            </a:xfrm>
          </p:grpSpPr>
          <p:sp>
            <p:nvSpPr>
              <p:cNvPr id="242" name="Text Box 60"/>
              <p:cNvSpPr txBox="1">
                <a:spLocks noChangeArrowheads="1"/>
              </p:cNvSpPr>
              <p:nvPr/>
            </p:nvSpPr>
            <p:spPr bwMode="auto">
              <a:xfrm>
                <a:off x="5334000" y="3648075"/>
                <a:ext cx="1425390"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6E2585"/>
                    </a:solidFill>
                    <a:cs typeface="Arial" charset="0"/>
                  </a:rPr>
                  <a:t>Hyderabad</a:t>
                </a:r>
                <a:r>
                  <a:rPr lang="en-US" sz="1200" b="1" dirty="0">
                    <a:solidFill>
                      <a:srgbClr val="6E2585"/>
                    </a:solidFill>
                    <a:cs typeface="Arial" charset="0"/>
                  </a:rPr>
                  <a:t>, </a:t>
                </a:r>
                <a:r>
                  <a:rPr lang="en-US" sz="1200" b="1" dirty="0" smtClean="0">
                    <a:solidFill>
                      <a:srgbClr val="6E2585"/>
                    </a:solidFill>
                    <a:cs typeface="Arial" charset="0"/>
                  </a:rPr>
                  <a:t>India</a:t>
                </a:r>
                <a:endParaRPr lang="en-US" sz="1200" b="1" dirty="0">
                  <a:solidFill>
                    <a:srgbClr val="6E2585"/>
                  </a:solidFill>
                  <a:cs typeface="Arial" charset="0"/>
                </a:endParaRPr>
              </a:p>
            </p:txBody>
          </p:sp>
          <p:sp>
            <p:nvSpPr>
              <p:cNvPr id="245" name="Line 63"/>
              <p:cNvSpPr>
                <a:spLocks noChangeShapeType="1"/>
              </p:cNvSpPr>
              <p:nvPr/>
            </p:nvSpPr>
            <p:spPr bwMode="auto">
              <a:xfrm flipH="1" flipV="1">
                <a:off x="5940222" y="3403551"/>
                <a:ext cx="3377" cy="244524"/>
              </a:xfrm>
              <a:prstGeom prst="line">
                <a:avLst/>
              </a:prstGeom>
              <a:noFill/>
              <a:ln w="9525">
                <a:solidFill>
                  <a:schemeClr val="accent6"/>
                </a:solidFill>
                <a:round/>
                <a:headEnd/>
                <a:tailEnd/>
              </a:ln>
            </p:spPr>
            <p:txBody>
              <a:bodyPr wrap="square">
                <a:spAutoFit/>
              </a:bodyPr>
              <a:lstStyle/>
              <a:p>
                <a:endParaRPr lang="en-US" dirty="0">
                  <a:solidFill>
                    <a:srgbClr val="FFFFFF"/>
                  </a:solidFill>
                </a:endParaRPr>
              </a:p>
            </p:txBody>
          </p:sp>
          <p:sp>
            <p:nvSpPr>
              <p:cNvPr id="248" name="Text Box 68"/>
              <p:cNvSpPr txBox="1">
                <a:spLocks noChangeArrowheads="1"/>
              </p:cNvSpPr>
              <p:nvPr/>
            </p:nvSpPr>
            <p:spPr bwMode="auto">
              <a:xfrm>
                <a:off x="5115318" y="2036998"/>
                <a:ext cx="1659813"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6E2585"/>
                    </a:solidFill>
                    <a:cs typeface="Arial" charset="0"/>
                  </a:rPr>
                  <a:t>Bucharest, Romania</a:t>
                </a:r>
                <a:endParaRPr lang="en-US" sz="1200" b="1" dirty="0">
                  <a:solidFill>
                    <a:srgbClr val="6E2585"/>
                  </a:solidFill>
                  <a:cs typeface="Arial" charset="0"/>
                </a:endParaRPr>
              </a:p>
            </p:txBody>
          </p:sp>
          <p:sp>
            <p:nvSpPr>
              <p:cNvPr id="249" name="Line 62"/>
              <p:cNvSpPr>
                <a:spLocks noChangeShapeType="1"/>
              </p:cNvSpPr>
              <p:nvPr/>
            </p:nvSpPr>
            <p:spPr bwMode="auto">
              <a:xfrm flipV="1">
                <a:off x="4865022" y="2205826"/>
                <a:ext cx="296016" cy="242097"/>
              </a:xfrm>
              <a:prstGeom prst="line">
                <a:avLst/>
              </a:prstGeom>
              <a:noFill/>
              <a:ln w="9525">
                <a:solidFill>
                  <a:schemeClr val="accent6"/>
                </a:solidFill>
                <a:round/>
                <a:headEnd/>
                <a:tailEnd/>
              </a:ln>
            </p:spPr>
            <p:txBody>
              <a:bodyPr wrap="square">
                <a:spAutoFit/>
              </a:bodyPr>
              <a:lstStyle/>
              <a:p>
                <a:endParaRPr lang="en-US" dirty="0">
                  <a:solidFill>
                    <a:srgbClr val="FFFFFF"/>
                  </a:solidFill>
                </a:endParaRPr>
              </a:p>
            </p:txBody>
          </p:sp>
          <p:sp>
            <p:nvSpPr>
              <p:cNvPr id="255" name="AutoShape 33"/>
              <p:cNvSpPr>
                <a:spLocks noChangeArrowheads="1"/>
              </p:cNvSpPr>
              <p:nvPr/>
            </p:nvSpPr>
            <p:spPr bwMode="auto">
              <a:xfrm>
                <a:off x="5883014" y="3237296"/>
                <a:ext cx="100584" cy="100584"/>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grpSp>
      </p:grpSp>
      <p:sp>
        <p:nvSpPr>
          <p:cNvPr id="285" name="Title 1"/>
          <p:cNvSpPr>
            <a:spLocks noGrp="1"/>
          </p:cNvSpPr>
          <p:nvPr>
            <p:ph type="title"/>
            <p:custDataLst>
              <p:tags r:id="rId1"/>
            </p:custDataLst>
          </p:nvPr>
        </p:nvSpPr>
        <p:spPr/>
        <p:txBody>
          <a:bodyPr anchor="t"/>
          <a:lstStyle/>
          <a:p>
            <a:r>
              <a:rPr lang="en-US" sz="2800" dirty="0" smtClean="0">
                <a:solidFill>
                  <a:srgbClr val="0085C3"/>
                </a:solidFill>
              </a:rPr>
              <a:t>Dell </a:t>
            </a:r>
            <a:r>
              <a:rPr lang="en-US" sz="2800" dirty="0" err="1" smtClean="0">
                <a:solidFill>
                  <a:srgbClr val="0085C3"/>
                </a:solidFill>
              </a:rPr>
              <a:t>SecureWorks</a:t>
            </a:r>
            <a:r>
              <a:rPr lang="en-US" sz="2800" dirty="0" smtClean="0">
                <a:solidFill>
                  <a:srgbClr val="0085C3"/>
                </a:solidFill>
              </a:rPr>
              <a:t> at a glance</a:t>
            </a:r>
            <a:endParaRPr lang="en-US" sz="2800" dirty="0">
              <a:solidFill>
                <a:srgbClr val="0085C3"/>
              </a:solidFill>
            </a:endParaRPr>
          </a:p>
        </p:txBody>
      </p:sp>
      <p:sp>
        <p:nvSpPr>
          <p:cNvPr id="287" name="AutoShape 32"/>
          <p:cNvSpPr>
            <a:spLocks noChangeArrowheads="1"/>
          </p:cNvSpPr>
          <p:nvPr/>
        </p:nvSpPr>
        <p:spPr bwMode="auto">
          <a:xfrm>
            <a:off x="7379468" y="2735287"/>
            <a:ext cx="100584" cy="100584"/>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endParaRPr lang="en-US" sz="1200" dirty="0">
              <a:solidFill>
                <a:srgbClr val="000000"/>
              </a:solidFill>
            </a:endParaRPr>
          </a:p>
        </p:txBody>
      </p:sp>
      <p:sp>
        <p:nvSpPr>
          <p:cNvPr id="288" name="Text Box 60"/>
          <p:cNvSpPr txBox="1">
            <a:spLocks noChangeArrowheads="1"/>
          </p:cNvSpPr>
          <p:nvPr/>
        </p:nvSpPr>
        <p:spPr bwMode="auto">
          <a:xfrm>
            <a:off x="7497257" y="2643497"/>
            <a:ext cx="1401538"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6E2585"/>
                </a:solidFill>
                <a:cs typeface="Arial" charset="0"/>
              </a:rPr>
              <a:t>Kawasaki, Japan</a:t>
            </a:r>
            <a:endParaRPr lang="en-US" sz="1200" b="1" dirty="0">
              <a:solidFill>
                <a:srgbClr val="6E2585"/>
              </a:solidFill>
              <a:cs typeface="Arial" charset="0"/>
            </a:endParaRPr>
          </a:p>
        </p:txBody>
      </p:sp>
      <p:sp>
        <p:nvSpPr>
          <p:cNvPr id="289" name="AutoShape 32"/>
          <p:cNvSpPr>
            <a:spLocks noChangeArrowheads="1"/>
          </p:cNvSpPr>
          <p:nvPr/>
        </p:nvSpPr>
        <p:spPr bwMode="auto">
          <a:xfrm>
            <a:off x="7496697" y="4482872"/>
            <a:ext cx="100584" cy="100584"/>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endParaRPr lang="en-US" sz="1200" dirty="0">
              <a:solidFill>
                <a:srgbClr val="000000"/>
              </a:solidFill>
            </a:endParaRPr>
          </a:p>
        </p:txBody>
      </p:sp>
      <p:sp>
        <p:nvSpPr>
          <p:cNvPr id="291" name="Text Box 68"/>
          <p:cNvSpPr txBox="1">
            <a:spLocks noChangeArrowheads="1"/>
          </p:cNvSpPr>
          <p:nvPr/>
        </p:nvSpPr>
        <p:spPr bwMode="auto">
          <a:xfrm>
            <a:off x="7603395" y="4394664"/>
            <a:ext cx="718595"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6E2585"/>
                </a:solidFill>
                <a:cs typeface="Arial" charset="0"/>
              </a:rPr>
              <a:t>Sydney</a:t>
            </a:r>
            <a:endParaRPr lang="en-US" sz="1200" b="1" dirty="0">
              <a:solidFill>
                <a:srgbClr val="6E2585"/>
              </a:solidFill>
              <a:cs typeface="Arial" charset="0"/>
            </a:endParaRPr>
          </a:p>
        </p:txBody>
      </p:sp>
      <p:sp>
        <p:nvSpPr>
          <p:cNvPr id="292" name="AutoShape 32"/>
          <p:cNvSpPr>
            <a:spLocks noChangeArrowheads="1"/>
          </p:cNvSpPr>
          <p:nvPr/>
        </p:nvSpPr>
        <p:spPr bwMode="auto">
          <a:xfrm>
            <a:off x="4251186" y="2306002"/>
            <a:ext cx="100584" cy="100584"/>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endParaRPr lang="en-US" sz="1200" dirty="0">
              <a:solidFill>
                <a:srgbClr val="000000"/>
              </a:solidFill>
            </a:endParaRPr>
          </a:p>
        </p:txBody>
      </p:sp>
      <p:sp>
        <p:nvSpPr>
          <p:cNvPr id="293" name="Text Box 68"/>
          <p:cNvSpPr txBox="1">
            <a:spLocks noChangeArrowheads="1"/>
          </p:cNvSpPr>
          <p:nvPr/>
        </p:nvSpPr>
        <p:spPr bwMode="auto">
          <a:xfrm>
            <a:off x="3472813" y="2217794"/>
            <a:ext cx="757515"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6E2585"/>
                </a:solidFill>
                <a:cs typeface="Arial" charset="0"/>
              </a:rPr>
              <a:t>London</a:t>
            </a:r>
            <a:endParaRPr lang="en-US" sz="1200" b="1" dirty="0">
              <a:solidFill>
                <a:srgbClr val="6E2585"/>
              </a:solidFill>
              <a:cs typeface="Arial" charset="0"/>
            </a:endParaRPr>
          </a:p>
        </p:txBody>
      </p:sp>
      <p:sp>
        <p:nvSpPr>
          <p:cNvPr id="5" name="Rectangle 4"/>
          <p:cNvSpPr/>
          <p:nvPr/>
        </p:nvSpPr>
        <p:spPr>
          <a:xfrm>
            <a:off x="0" y="5160474"/>
            <a:ext cx="9151950" cy="735784"/>
          </a:xfrm>
          <a:prstGeom prst="rect">
            <a:avLst/>
          </a:prstGeom>
          <a:solidFill>
            <a:schemeClr val="tx1"/>
          </a:solidFill>
          <a:effectLst/>
        </p:spPr>
        <p:txBody>
          <a:bodyPr wrap="square" rtlCol="0" anchor="t">
            <a:normAutofit/>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94" name="AutoShape 32"/>
          <p:cNvSpPr>
            <a:spLocks noChangeArrowheads="1"/>
          </p:cNvSpPr>
          <p:nvPr/>
        </p:nvSpPr>
        <p:spPr bwMode="auto">
          <a:xfrm>
            <a:off x="2101783" y="2944711"/>
            <a:ext cx="91412" cy="91438"/>
          </a:xfrm>
          <a:prstGeom prst="ellipse">
            <a:avLst/>
          </a:prstGeom>
          <a:solidFill>
            <a:schemeClr val="accent6"/>
          </a:solidFill>
          <a:ln>
            <a:solidFill>
              <a:schemeClr val="accent6"/>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sp>
        <p:nvSpPr>
          <p:cNvPr id="295" name="Line 61"/>
          <p:cNvSpPr>
            <a:spLocks noChangeShapeType="1"/>
          </p:cNvSpPr>
          <p:nvPr/>
        </p:nvSpPr>
        <p:spPr bwMode="auto">
          <a:xfrm flipV="1">
            <a:off x="1666525" y="3029105"/>
            <a:ext cx="480964" cy="391863"/>
          </a:xfrm>
          <a:prstGeom prst="line">
            <a:avLst/>
          </a:prstGeom>
          <a:noFill/>
          <a:ln w="9525">
            <a:solidFill>
              <a:schemeClr val="accent6"/>
            </a:solidFill>
            <a:round/>
            <a:headEnd/>
            <a:tailEnd/>
          </a:ln>
        </p:spPr>
        <p:txBody>
          <a:bodyPr wrap="square">
            <a:spAutoFit/>
          </a:bodyPr>
          <a:lstStyle/>
          <a:p>
            <a:endParaRPr lang="en-US" dirty="0">
              <a:solidFill>
                <a:srgbClr val="FFFFFF"/>
              </a:solidFill>
            </a:endParaRPr>
          </a:p>
        </p:txBody>
      </p:sp>
      <p:sp>
        <p:nvSpPr>
          <p:cNvPr id="296" name="Text Box 58"/>
          <p:cNvSpPr txBox="1">
            <a:spLocks noChangeArrowheads="1"/>
          </p:cNvSpPr>
          <p:nvPr/>
        </p:nvSpPr>
        <p:spPr bwMode="auto">
          <a:xfrm>
            <a:off x="389371" y="3311991"/>
            <a:ext cx="1344471"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6E2585"/>
                </a:solidFill>
                <a:cs typeface="Arial" charset="0"/>
              </a:rPr>
              <a:t>Round Rock, TX</a:t>
            </a:r>
            <a:endParaRPr lang="en-US" sz="1200" b="1" dirty="0">
              <a:solidFill>
                <a:srgbClr val="6E2585"/>
              </a:solidFill>
              <a:cs typeface="Arial" charset="0"/>
            </a:endParaRPr>
          </a:p>
        </p:txBody>
      </p:sp>
      <p:sp>
        <p:nvSpPr>
          <p:cNvPr id="299" name="Rectangle 298"/>
          <p:cNvSpPr/>
          <p:nvPr/>
        </p:nvSpPr>
        <p:spPr>
          <a:xfrm>
            <a:off x="0" y="5160474"/>
            <a:ext cx="1285072" cy="735251"/>
          </a:xfrm>
          <a:prstGeom prst="rect">
            <a:avLst/>
          </a:prstGeom>
          <a:noFill/>
          <a:effectLst/>
        </p:spPr>
        <p:txBody>
          <a:bodyPr wrap="square" rtlCol="0" anchor="ctr">
            <a:normAutofit/>
          </a:bodyPr>
          <a:lstStyle/>
          <a:p>
            <a:pPr algn="ctr">
              <a:lnSpc>
                <a:spcPct val="90000"/>
              </a:lnSpc>
              <a:spcBef>
                <a:spcPts val="100"/>
              </a:spcBef>
              <a:spcAft>
                <a:spcPts val="100"/>
              </a:spcAft>
            </a:pPr>
            <a:r>
              <a:rPr lang="en-US" sz="2800" b="1" kern="400" cap="all" dirty="0" smtClean="0">
                <a:solidFill>
                  <a:srgbClr val="FFFFFF"/>
                </a:solidFill>
                <a:latin typeface="Museo For Dell"/>
                <a:cs typeface="Museo Sans For Dell 700"/>
              </a:rPr>
              <a:t>70+</a:t>
            </a:r>
            <a:r>
              <a:rPr lang="en-US" sz="2800" kern="400" cap="all" dirty="0" smtClean="0">
                <a:solidFill>
                  <a:srgbClr val="FFFFFF"/>
                </a:solidFill>
                <a:latin typeface="Museo For Dell"/>
                <a:cs typeface="Museo Sans For Dell 700"/>
              </a:rPr>
              <a:t/>
            </a:r>
            <a:br>
              <a:rPr lang="en-US" sz="2800" kern="400" cap="all" dirty="0" smtClean="0">
                <a:solidFill>
                  <a:srgbClr val="FFFFFF"/>
                </a:solidFill>
                <a:latin typeface="Museo For Dell"/>
                <a:cs typeface="Museo Sans For Dell 700"/>
              </a:rPr>
            </a:br>
            <a:r>
              <a:rPr lang="en-US" sz="1400" b="1" kern="400" dirty="0">
                <a:solidFill>
                  <a:srgbClr val="FFFFFF"/>
                </a:solidFill>
                <a:latin typeface="Museo Sans For Dell"/>
                <a:cs typeface="Museo Sans For Dell 700"/>
              </a:rPr>
              <a:t>Countries</a:t>
            </a:r>
            <a:r>
              <a:rPr lang="en-US" sz="1800" b="1" kern="400" dirty="0" smtClean="0">
                <a:solidFill>
                  <a:srgbClr val="FFFFFF"/>
                </a:solidFill>
                <a:latin typeface="Museo Sans For Dell"/>
                <a:cs typeface="Museo Sans For Dell 700"/>
              </a:rPr>
              <a:t> </a:t>
            </a:r>
            <a:endParaRPr lang="en-US" sz="1600" b="1" kern="400" dirty="0" smtClean="0">
              <a:solidFill>
                <a:srgbClr val="FFFFFF"/>
              </a:solidFill>
              <a:latin typeface="Museo Sans For Dell"/>
              <a:cs typeface="Museo Sans For Dell 700"/>
            </a:endParaRPr>
          </a:p>
        </p:txBody>
      </p:sp>
      <p:sp>
        <p:nvSpPr>
          <p:cNvPr id="300" name="Rectangle 299"/>
          <p:cNvSpPr/>
          <p:nvPr/>
        </p:nvSpPr>
        <p:spPr>
          <a:xfrm>
            <a:off x="1018718" y="5160474"/>
            <a:ext cx="1434870" cy="735251"/>
          </a:xfrm>
          <a:prstGeom prst="rect">
            <a:avLst/>
          </a:prstGeom>
          <a:noFill/>
          <a:effectLst/>
        </p:spPr>
        <p:txBody>
          <a:bodyPr wrap="square" rtlCol="0" anchor="ctr">
            <a:normAutofit/>
          </a:bodyPr>
          <a:lstStyle/>
          <a:p>
            <a:pPr algn="ctr">
              <a:lnSpc>
                <a:spcPct val="90000"/>
              </a:lnSpc>
              <a:spcBef>
                <a:spcPts val="100"/>
              </a:spcBef>
              <a:spcAft>
                <a:spcPts val="100"/>
              </a:spcAft>
            </a:pPr>
            <a:r>
              <a:rPr lang="en-US" sz="2800" b="1" kern="400" cap="all" dirty="0" smtClean="0">
                <a:solidFill>
                  <a:srgbClr val="FFFFFF"/>
                </a:solidFill>
                <a:latin typeface="Museo For Dell"/>
                <a:cs typeface="Museo Sans For Dell 700"/>
              </a:rPr>
              <a:t>3.8K+</a:t>
            </a:r>
            <a:r>
              <a:rPr lang="en-US" sz="2800" kern="400" cap="all" dirty="0" smtClean="0">
                <a:solidFill>
                  <a:srgbClr val="FFFFFF"/>
                </a:solidFill>
                <a:latin typeface="Museo For Dell"/>
                <a:cs typeface="Museo Sans For Dell 700"/>
              </a:rPr>
              <a:t/>
            </a:r>
            <a:br>
              <a:rPr lang="en-US" sz="2800" kern="400" cap="all" dirty="0" smtClean="0">
                <a:solidFill>
                  <a:srgbClr val="FFFFFF"/>
                </a:solidFill>
                <a:latin typeface="Museo For Dell"/>
                <a:cs typeface="Museo Sans For Dell 700"/>
              </a:rPr>
            </a:br>
            <a:r>
              <a:rPr lang="en-US" sz="1400" b="1" kern="400" dirty="0">
                <a:solidFill>
                  <a:srgbClr val="FFFFFF"/>
                </a:solidFill>
                <a:latin typeface="Museo Sans For Dell"/>
                <a:cs typeface="Museo Sans For Dell 700"/>
              </a:rPr>
              <a:t>Customers</a:t>
            </a:r>
            <a:r>
              <a:rPr lang="en-US" sz="1800" b="1" kern="400" dirty="0" smtClean="0">
                <a:solidFill>
                  <a:srgbClr val="FFFFFF"/>
                </a:solidFill>
                <a:latin typeface="Museo Sans For Dell"/>
                <a:cs typeface="Museo Sans For Dell 700"/>
              </a:rPr>
              <a:t> </a:t>
            </a:r>
            <a:endParaRPr lang="en-US" sz="1600" b="1" kern="400" dirty="0" smtClean="0">
              <a:solidFill>
                <a:srgbClr val="FFFFFF"/>
              </a:solidFill>
              <a:latin typeface="Museo Sans For Dell"/>
              <a:cs typeface="Museo Sans For Dell 700"/>
            </a:endParaRPr>
          </a:p>
        </p:txBody>
      </p:sp>
      <p:sp>
        <p:nvSpPr>
          <p:cNvPr id="301" name="Rectangle 300"/>
          <p:cNvSpPr/>
          <p:nvPr/>
        </p:nvSpPr>
        <p:spPr>
          <a:xfrm>
            <a:off x="2204027" y="5172349"/>
            <a:ext cx="1353312" cy="735251"/>
          </a:xfrm>
          <a:prstGeom prst="rect">
            <a:avLst/>
          </a:prstGeom>
          <a:noFill/>
          <a:effectLst/>
        </p:spPr>
        <p:txBody>
          <a:bodyPr wrap="square" rtlCol="0" anchor="ctr">
            <a:normAutofit/>
          </a:bodyPr>
          <a:lstStyle/>
          <a:p>
            <a:pPr algn="ctr">
              <a:lnSpc>
                <a:spcPct val="90000"/>
              </a:lnSpc>
              <a:spcBef>
                <a:spcPts val="100"/>
              </a:spcBef>
              <a:spcAft>
                <a:spcPts val="100"/>
              </a:spcAft>
            </a:pPr>
            <a:r>
              <a:rPr lang="en-US" sz="2800" b="1" kern="400" cap="all" dirty="0" smtClean="0">
                <a:solidFill>
                  <a:srgbClr val="FFFFFF"/>
                </a:solidFill>
                <a:latin typeface="Museo For Dell"/>
                <a:cs typeface="Museo Sans For Dell 700"/>
              </a:rPr>
              <a:t>1K+</a:t>
            </a:r>
            <a:r>
              <a:rPr lang="en-US" sz="2800" kern="400" cap="all" dirty="0" smtClean="0">
                <a:solidFill>
                  <a:srgbClr val="FFFFFF"/>
                </a:solidFill>
                <a:latin typeface="Museo For Dell"/>
                <a:cs typeface="Museo Sans For Dell 700"/>
              </a:rPr>
              <a:t/>
            </a:r>
            <a:br>
              <a:rPr lang="en-US" sz="2800" kern="400" cap="all" dirty="0" smtClean="0">
                <a:solidFill>
                  <a:srgbClr val="FFFFFF"/>
                </a:solidFill>
                <a:latin typeface="Museo For Dell"/>
                <a:cs typeface="Museo Sans For Dell 700"/>
              </a:rPr>
            </a:br>
            <a:r>
              <a:rPr lang="en-US" sz="1400" b="1" kern="400" dirty="0" smtClean="0">
                <a:solidFill>
                  <a:srgbClr val="FFFFFF"/>
                </a:solidFill>
                <a:latin typeface="Museo Sans For Dell"/>
                <a:cs typeface="Museo Sans For Dell 700"/>
              </a:rPr>
              <a:t>Security </a:t>
            </a:r>
            <a:r>
              <a:rPr lang="en-US" sz="1300" b="1" kern="400" dirty="0" smtClean="0">
                <a:solidFill>
                  <a:srgbClr val="FFFFFF"/>
                </a:solidFill>
                <a:latin typeface="Museo Sans For Dell"/>
                <a:cs typeface="Museo Sans For Dell 700"/>
              </a:rPr>
              <a:t>Pros </a:t>
            </a:r>
          </a:p>
        </p:txBody>
      </p:sp>
      <p:sp>
        <p:nvSpPr>
          <p:cNvPr id="302" name="Rectangle 301"/>
          <p:cNvSpPr/>
          <p:nvPr/>
        </p:nvSpPr>
        <p:spPr>
          <a:xfrm>
            <a:off x="4660162" y="5181402"/>
            <a:ext cx="1353312" cy="735251"/>
          </a:xfrm>
          <a:prstGeom prst="rect">
            <a:avLst/>
          </a:prstGeom>
          <a:noFill/>
          <a:effectLst/>
        </p:spPr>
        <p:txBody>
          <a:bodyPr wrap="square" rtlCol="0" anchor="ctr">
            <a:normAutofit/>
          </a:bodyPr>
          <a:lstStyle/>
          <a:p>
            <a:pPr algn="ctr">
              <a:lnSpc>
                <a:spcPct val="90000"/>
              </a:lnSpc>
              <a:spcBef>
                <a:spcPts val="100"/>
              </a:spcBef>
              <a:spcAft>
                <a:spcPts val="100"/>
              </a:spcAft>
            </a:pPr>
            <a:r>
              <a:rPr lang="en-US" sz="2800" b="1" dirty="0" smtClean="0">
                <a:solidFill>
                  <a:srgbClr val="FFFFFF"/>
                </a:solidFill>
                <a:latin typeface="Museo For Dell"/>
              </a:rPr>
              <a:t>158K+</a:t>
            </a:r>
          </a:p>
          <a:p>
            <a:pPr algn="ctr">
              <a:lnSpc>
                <a:spcPct val="90000"/>
              </a:lnSpc>
              <a:spcBef>
                <a:spcPts val="100"/>
              </a:spcBef>
              <a:spcAft>
                <a:spcPts val="100"/>
              </a:spcAft>
            </a:pPr>
            <a:r>
              <a:rPr lang="en-US" sz="1400" b="1" kern="400" dirty="0">
                <a:solidFill>
                  <a:srgbClr val="FFFFFF"/>
                </a:solidFill>
                <a:latin typeface="Museo For Dell" pitchFamily="2" charset="0"/>
                <a:cs typeface="Museo Sans For Dell 700"/>
              </a:rPr>
              <a:t>Devices</a:t>
            </a:r>
            <a:endParaRPr lang="en-US" sz="1300" b="1" kern="400" dirty="0">
              <a:solidFill>
                <a:srgbClr val="FFFFFF"/>
              </a:solidFill>
              <a:latin typeface="Museo For Dell" pitchFamily="2" charset="0"/>
              <a:cs typeface="Museo Sans For Dell 700"/>
            </a:endParaRPr>
          </a:p>
        </p:txBody>
      </p:sp>
      <p:sp>
        <p:nvSpPr>
          <p:cNvPr id="304" name="Rectangle 303"/>
          <p:cNvSpPr/>
          <p:nvPr/>
        </p:nvSpPr>
        <p:spPr>
          <a:xfrm>
            <a:off x="3251464" y="5172349"/>
            <a:ext cx="1727278" cy="735251"/>
          </a:xfrm>
          <a:prstGeom prst="rect">
            <a:avLst/>
          </a:prstGeom>
          <a:noFill/>
          <a:effectLst/>
        </p:spPr>
        <p:txBody>
          <a:bodyPr wrap="square" rtlCol="0" anchor="ctr">
            <a:noAutofit/>
          </a:bodyPr>
          <a:lstStyle/>
          <a:p>
            <a:pPr algn="ctr">
              <a:lnSpc>
                <a:spcPct val="90000"/>
              </a:lnSpc>
              <a:spcBef>
                <a:spcPts val="100"/>
              </a:spcBef>
              <a:spcAft>
                <a:spcPts val="100"/>
              </a:spcAft>
            </a:pPr>
            <a:r>
              <a:rPr lang="en-US" sz="2800" b="1" kern="400" cap="all" dirty="0" smtClean="0">
                <a:solidFill>
                  <a:srgbClr val="FFFFFF"/>
                </a:solidFill>
                <a:latin typeface="Museo For Dell"/>
                <a:cs typeface="Museo Sans For Dell 700"/>
              </a:rPr>
              <a:t>200+</a:t>
            </a:r>
            <a:r>
              <a:rPr lang="en-US" sz="2000" kern="400" cap="all" dirty="0" smtClean="0">
                <a:solidFill>
                  <a:srgbClr val="FFFFFF"/>
                </a:solidFill>
                <a:latin typeface="Museo For Dell"/>
                <a:cs typeface="Museo Sans For Dell 700"/>
              </a:rPr>
              <a:t/>
            </a:r>
            <a:br>
              <a:rPr lang="en-US" sz="2000" kern="400" cap="all" dirty="0" smtClean="0">
                <a:solidFill>
                  <a:srgbClr val="FFFFFF"/>
                </a:solidFill>
                <a:latin typeface="Museo For Dell"/>
                <a:cs typeface="Museo Sans For Dell 700"/>
              </a:rPr>
            </a:br>
            <a:r>
              <a:rPr lang="en-US" sz="1400" b="1" kern="400" dirty="0" smtClean="0">
                <a:solidFill>
                  <a:srgbClr val="FFFFFF"/>
                </a:solidFill>
                <a:latin typeface="Museo For Dell" pitchFamily="2" charset="0"/>
                <a:cs typeface="Museo Sans For Dell 700"/>
              </a:rPr>
              <a:t>Engineers</a:t>
            </a:r>
            <a:endParaRPr lang="en-US" sz="1300" b="1" kern="400" dirty="0" smtClean="0">
              <a:solidFill>
                <a:srgbClr val="FFFFFF"/>
              </a:solidFill>
              <a:latin typeface="Museo For Dell" pitchFamily="2" charset="0"/>
              <a:cs typeface="Museo Sans For Dell 700"/>
            </a:endParaRPr>
          </a:p>
        </p:txBody>
      </p:sp>
      <p:sp>
        <p:nvSpPr>
          <p:cNvPr id="305" name="Rectangle 304"/>
          <p:cNvSpPr/>
          <p:nvPr/>
        </p:nvSpPr>
        <p:spPr>
          <a:xfrm>
            <a:off x="1921" y="5940351"/>
            <a:ext cx="9150029" cy="333694"/>
          </a:xfrm>
          <a:prstGeom prst="rect">
            <a:avLst/>
          </a:prstGeom>
          <a:solidFill>
            <a:schemeClr val="tx1"/>
          </a:solidFill>
          <a:effectLst/>
        </p:spPr>
        <p:txBody>
          <a:bodyPr wrap="square" rtlCol="0" anchor="ctr">
            <a:noAutofit/>
          </a:bodyPr>
          <a:lstStyle/>
          <a:p>
            <a:pPr algn="ctr">
              <a:lnSpc>
                <a:spcPct val="90000"/>
              </a:lnSpc>
              <a:spcBef>
                <a:spcPts val="100"/>
              </a:spcBef>
              <a:spcAft>
                <a:spcPts val="100"/>
              </a:spcAft>
            </a:pPr>
            <a:r>
              <a:rPr lang="en-US" sz="2800" b="1" kern="400" cap="all" dirty="0" smtClean="0">
                <a:solidFill>
                  <a:srgbClr val="FFFFFF"/>
                </a:solidFill>
                <a:latin typeface="Museo For Dell"/>
                <a:cs typeface="Museo Sans For Dell 700"/>
              </a:rPr>
              <a:t>24 </a:t>
            </a:r>
            <a:r>
              <a:rPr lang="en-US" sz="2000" b="1" kern="400" cap="all" dirty="0" smtClean="0">
                <a:solidFill>
                  <a:srgbClr val="FFFFFF"/>
                </a:solidFill>
                <a:latin typeface="Museo For Dell"/>
                <a:cs typeface="Museo Sans For Dell 700"/>
              </a:rPr>
              <a:t>x </a:t>
            </a:r>
            <a:r>
              <a:rPr lang="en-US" sz="2800" b="1" kern="400" cap="all" dirty="0" smtClean="0">
                <a:solidFill>
                  <a:srgbClr val="FFFFFF"/>
                </a:solidFill>
                <a:latin typeface="Museo For Dell"/>
                <a:cs typeface="Museo Sans For Dell 700"/>
              </a:rPr>
              <a:t>7 </a:t>
            </a:r>
            <a:r>
              <a:rPr lang="en-US" sz="2000" b="1" kern="400" cap="all" dirty="0" smtClean="0">
                <a:solidFill>
                  <a:srgbClr val="FFFFFF"/>
                </a:solidFill>
                <a:latin typeface="Museo For Dell"/>
                <a:cs typeface="Museo Sans For Dell 700"/>
              </a:rPr>
              <a:t>x </a:t>
            </a:r>
            <a:r>
              <a:rPr lang="en-US" sz="2800" b="1" kern="400" cap="all" dirty="0" smtClean="0">
                <a:solidFill>
                  <a:srgbClr val="FFFFFF"/>
                </a:solidFill>
                <a:latin typeface="Museo For Dell"/>
                <a:cs typeface="Museo Sans For Dell 700"/>
              </a:rPr>
              <a:t>365</a:t>
            </a:r>
            <a:endParaRPr lang="en-US" sz="1600" b="1" kern="400" dirty="0" smtClean="0">
              <a:solidFill>
                <a:srgbClr val="FFFFFF"/>
              </a:solidFill>
              <a:latin typeface="Museo Sans For Dell"/>
              <a:cs typeface="Museo Sans For Dell 700"/>
            </a:endParaRPr>
          </a:p>
        </p:txBody>
      </p:sp>
      <p:sp>
        <p:nvSpPr>
          <p:cNvPr id="325" name="Slide Number Placeholder 2"/>
          <p:cNvSpPr txBox="1">
            <a:spLocks/>
          </p:cNvSpPr>
          <p:nvPr/>
        </p:nvSpPr>
        <p:spPr>
          <a:xfrm>
            <a:off x="439742" y="6431531"/>
            <a:ext cx="260349" cy="152399"/>
          </a:xfrm>
          <a:prstGeom prst="rect">
            <a:avLst/>
          </a:prstGeom>
        </p:spPr>
        <p:txBody>
          <a:bodyPr vert="horz" lIns="0" tIns="0" rIns="91440" bIns="0" rtlCol="0" anchor="ctr"/>
          <a:lstStyle>
            <a:defPPr>
              <a:defRPr lang="en-US"/>
            </a:defPPr>
            <a:lvl1pPr marL="0" algn="l" defTabSz="914400" rtl="0" eaLnBrk="1" latinLnBrk="0" hangingPunct="1">
              <a:defRPr sz="900" kern="1200">
                <a:solidFill>
                  <a:schemeClr val="bg2">
                    <a:lumMod val="60000"/>
                    <a:lumOff val="40000"/>
                  </a:schemeClr>
                </a:solidFill>
                <a:latin typeface="Museo Sans For Dell"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D5246C-868F-410A-AE52-FE248EDADC46}" type="slidenum">
              <a:rPr lang="en-US" sz="1000" smtClean="0">
                <a:solidFill>
                  <a:srgbClr val="000000">
                    <a:lumMod val="60000"/>
                    <a:lumOff val="40000"/>
                  </a:srgbClr>
                </a:solidFill>
              </a:rPr>
              <a:pPr/>
              <a:t>2</a:t>
            </a:fld>
            <a:endParaRPr lang="en-US" sz="1000" dirty="0">
              <a:solidFill>
                <a:srgbClr val="000000">
                  <a:lumMod val="60000"/>
                  <a:lumOff val="40000"/>
                </a:srgbClr>
              </a:solidFill>
            </a:endParaRPr>
          </a:p>
        </p:txBody>
      </p:sp>
      <p:sp>
        <p:nvSpPr>
          <p:cNvPr id="326" name="Footer Placeholder 3"/>
          <p:cNvSpPr txBox="1">
            <a:spLocks/>
          </p:cNvSpPr>
          <p:nvPr/>
        </p:nvSpPr>
        <p:spPr>
          <a:xfrm>
            <a:off x="742950" y="6429375"/>
            <a:ext cx="1885950" cy="152400"/>
          </a:xfrm>
          <a:prstGeom prst="rect">
            <a:avLst/>
          </a:prstGeom>
        </p:spPr>
        <p:txBody>
          <a:bodyPr vert="horz" lIns="0" tIns="0" rIns="91440" bIns="0" rtlCol="0" anchor="ctr"/>
          <a:lstStyle>
            <a:defPPr>
              <a:defRPr lang="en-US"/>
            </a:defPPr>
            <a:lvl1pPr marL="0" algn="l" defTabSz="914400" rtl="0" eaLnBrk="1" latinLnBrk="0" hangingPunct="1">
              <a:defRPr sz="1000" kern="1200">
                <a:solidFill>
                  <a:schemeClr val="bg2">
                    <a:lumMod val="60000"/>
                    <a:lumOff val="40000"/>
                  </a:schemeClr>
                </a:solidFill>
                <a:latin typeface="Museo Sans For Dell"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327" name="Date Placeholder 4"/>
          <p:cNvSpPr txBox="1">
            <a:spLocks/>
          </p:cNvSpPr>
          <p:nvPr/>
        </p:nvSpPr>
        <p:spPr>
          <a:xfrm>
            <a:off x="1909497" y="6390167"/>
            <a:ext cx="914401" cy="1523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C21B2A-3096-494E-9123-2989D3AEA588}" type="datetime1">
              <a:rPr lang="en-US" sz="1000" smtClean="0">
                <a:solidFill>
                  <a:srgbClr val="000000">
                    <a:lumMod val="60000"/>
                    <a:lumOff val="40000"/>
                  </a:srgbClr>
                </a:solidFill>
              </a:rPr>
              <a:pPr/>
              <a:t>10/22/2014</a:t>
            </a:fld>
            <a:endParaRPr lang="en-US" sz="1000" dirty="0">
              <a:solidFill>
                <a:srgbClr val="000000">
                  <a:lumMod val="60000"/>
                  <a:lumOff val="40000"/>
                </a:srgbClr>
              </a:solidFill>
            </a:endParaRPr>
          </a:p>
        </p:txBody>
      </p:sp>
      <p:sp>
        <p:nvSpPr>
          <p:cNvPr id="298" name="Rectangle 297"/>
          <p:cNvSpPr/>
          <p:nvPr/>
        </p:nvSpPr>
        <p:spPr>
          <a:xfrm>
            <a:off x="5790666" y="5169527"/>
            <a:ext cx="1798491" cy="770824"/>
          </a:xfrm>
          <a:prstGeom prst="rect">
            <a:avLst/>
          </a:prstGeom>
          <a:noFill/>
          <a:effectLst/>
        </p:spPr>
        <p:txBody>
          <a:bodyPr wrap="square" rtlCol="0" anchor="ctr">
            <a:normAutofit fontScale="92500"/>
          </a:bodyPr>
          <a:lstStyle/>
          <a:p>
            <a:pPr algn="ctr">
              <a:lnSpc>
                <a:spcPct val="90000"/>
              </a:lnSpc>
              <a:spcBef>
                <a:spcPts val="100"/>
              </a:spcBef>
              <a:spcAft>
                <a:spcPts val="100"/>
              </a:spcAft>
            </a:pPr>
            <a:r>
              <a:rPr lang="en-US" sz="3000" b="1" kern="400" cap="all" dirty="0" smtClean="0">
                <a:solidFill>
                  <a:srgbClr val="FFFFFF"/>
                </a:solidFill>
                <a:latin typeface="Museo For Dell"/>
                <a:cs typeface="Museo Sans For Dell 700"/>
              </a:rPr>
              <a:t>~85B</a:t>
            </a:r>
          </a:p>
          <a:p>
            <a:pPr algn="ctr">
              <a:lnSpc>
                <a:spcPct val="90000"/>
              </a:lnSpc>
              <a:spcBef>
                <a:spcPts val="100"/>
              </a:spcBef>
              <a:spcAft>
                <a:spcPts val="100"/>
              </a:spcAft>
            </a:pPr>
            <a:r>
              <a:rPr lang="en-US" sz="1500" b="1" kern="400" dirty="0" smtClean="0">
                <a:solidFill>
                  <a:srgbClr val="FFFFFF"/>
                </a:solidFill>
                <a:latin typeface="Museo For Dell" pitchFamily="2" charset="0"/>
                <a:cs typeface="Museo Sans For Dell 700"/>
              </a:rPr>
              <a:t>Daily Cyber Events</a:t>
            </a:r>
          </a:p>
        </p:txBody>
      </p:sp>
      <p:sp>
        <p:nvSpPr>
          <p:cNvPr id="303" name="Rectangle 302"/>
          <p:cNvSpPr/>
          <p:nvPr/>
        </p:nvSpPr>
        <p:spPr>
          <a:xfrm>
            <a:off x="7480052" y="5196099"/>
            <a:ext cx="1663948" cy="735251"/>
          </a:xfrm>
          <a:prstGeom prst="rect">
            <a:avLst/>
          </a:prstGeom>
          <a:noFill/>
          <a:effectLst/>
        </p:spPr>
        <p:txBody>
          <a:bodyPr wrap="square" rtlCol="0" anchor="ctr">
            <a:normAutofit fontScale="92500"/>
          </a:bodyPr>
          <a:lstStyle/>
          <a:p>
            <a:pPr algn="ctr">
              <a:lnSpc>
                <a:spcPct val="90000"/>
              </a:lnSpc>
              <a:spcBef>
                <a:spcPts val="100"/>
              </a:spcBef>
              <a:spcAft>
                <a:spcPts val="100"/>
              </a:spcAft>
            </a:pPr>
            <a:r>
              <a:rPr lang="en-US" sz="2800" b="1" kern="400" cap="all" dirty="0" smtClean="0">
                <a:solidFill>
                  <a:srgbClr val="FFFFFF"/>
                </a:solidFill>
                <a:latin typeface="Museo For Dell"/>
                <a:cs typeface="Museo Sans For Dell 700"/>
              </a:rPr>
              <a:t>3K+</a:t>
            </a:r>
          </a:p>
          <a:p>
            <a:pPr algn="ctr">
              <a:lnSpc>
                <a:spcPct val="90000"/>
              </a:lnSpc>
              <a:spcBef>
                <a:spcPts val="100"/>
              </a:spcBef>
              <a:spcAft>
                <a:spcPts val="100"/>
              </a:spcAft>
            </a:pPr>
            <a:r>
              <a:rPr lang="en-US" sz="1500" b="1" kern="400" dirty="0" smtClean="0">
                <a:solidFill>
                  <a:srgbClr val="FFFFFF"/>
                </a:solidFill>
                <a:latin typeface="Museo For Dell" pitchFamily="2" charset="0"/>
                <a:cs typeface="Museo Sans For Dell 700"/>
              </a:rPr>
              <a:t>Daily Escalations</a:t>
            </a:r>
          </a:p>
        </p:txBody>
      </p:sp>
      <p:sp>
        <p:nvSpPr>
          <p:cNvPr id="235" name="Freeform 234"/>
          <p:cNvSpPr/>
          <p:nvPr/>
        </p:nvSpPr>
        <p:spPr>
          <a:xfrm>
            <a:off x="4824413" y="1471613"/>
            <a:ext cx="242887" cy="533840"/>
          </a:xfrm>
          <a:custGeom>
            <a:avLst/>
            <a:gdLst>
              <a:gd name="connsiteX0" fmla="*/ 161925 w 242887"/>
              <a:gd name="connsiteY0" fmla="*/ 500062 h 533840"/>
              <a:gd name="connsiteX1" fmla="*/ 128587 w 242887"/>
              <a:gd name="connsiteY1" fmla="*/ 504825 h 533840"/>
              <a:gd name="connsiteX2" fmla="*/ 52387 w 242887"/>
              <a:gd name="connsiteY2" fmla="*/ 514350 h 533840"/>
              <a:gd name="connsiteX3" fmla="*/ 9525 w 242887"/>
              <a:gd name="connsiteY3" fmla="*/ 519112 h 533840"/>
              <a:gd name="connsiteX4" fmla="*/ 23812 w 242887"/>
              <a:gd name="connsiteY4" fmla="*/ 514350 h 533840"/>
              <a:gd name="connsiteX5" fmla="*/ 33337 w 242887"/>
              <a:gd name="connsiteY5" fmla="*/ 481012 h 533840"/>
              <a:gd name="connsiteX6" fmla="*/ 42862 w 242887"/>
              <a:gd name="connsiteY6" fmla="*/ 466725 h 533840"/>
              <a:gd name="connsiteX7" fmla="*/ 38100 w 242887"/>
              <a:gd name="connsiteY7" fmla="*/ 438150 h 533840"/>
              <a:gd name="connsiteX8" fmla="*/ 28575 w 242887"/>
              <a:gd name="connsiteY8" fmla="*/ 423862 h 533840"/>
              <a:gd name="connsiteX9" fmla="*/ 23812 w 242887"/>
              <a:gd name="connsiteY9" fmla="*/ 400050 h 533840"/>
              <a:gd name="connsiteX10" fmla="*/ 38100 w 242887"/>
              <a:gd name="connsiteY10" fmla="*/ 390525 h 533840"/>
              <a:gd name="connsiteX11" fmla="*/ 95250 w 242887"/>
              <a:gd name="connsiteY11" fmla="*/ 381000 h 533840"/>
              <a:gd name="connsiteX12" fmla="*/ 109537 w 242887"/>
              <a:gd name="connsiteY12" fmla="*/ 352425 h 533840"/>
              <a:gd name="connsiteX13" fmla="*/ 114300 w 242887"/>
              <a:gd name="connsiteY13" fmla="*/ 338137 h 533840"/>
              <a:gd name="connsiteX14" fmla="*/ 142875 w 242887"/>
              <a:gd name="connsiteY14" fmla="*/ 319087 h 533840"/>
              <a:gd name="connsiteX15" fmla="*/ 138112 w 242887"/>
              <a:gd name="connsiteY15" fmla="*/ 285750 h 533840"/>
              <a:gd name="connsiteX16" fmla="*/ 95250 w 242887"/>
              <a:gd name="connsiteY16" fmla="*/ 261937 h 533840"/>
              <a:gd name="connsiteX17" fmla="*/ 90487 w 242887"/>
              <a:gd name="connsiteY17" fmla="*/ 247650 h 533840"/>
              <a:gd name="connsiteX18" fmla="*/ 61912 w 242887"/>
              <a:gd name="connsiteY18" fmla="*/ 238125 h 533840"/>
              <a:gd name="connsiteX19" fmla="*/ 28575 w 242887"/>
              <a:gd name="connsiteY19" fmla="*/ 195262 h 533840"/>
              <a:gd name="connsiteX20" fmla="*/ 19050 w 242887"/>
              <a:gd name="connsiteY20" fmla="*/ 166687 h 533840"/>
              <a:gd name="connsiteX21" fmla="*/ 9525 w 242887"/>
              <a:gd name="connsiteY21" fmla="*/ 152400 h 533840"/>
              <a:gd name="connsiteX22" fmla="*/ 0 w 242887"/>
              <a:gd name="connsiteY22" fmla="*/ 71437 h 533840"/>
              <a:gd name="connsiteX23" fmla="*/ 4762 w 242887"/>
              <a:gd name="connsiteY23" fmla="*/ 57150 h 533840"/>
              <a:gd name="connsiteX24" fmla="*/ 47625 w 242887"/>
              <a:gd name="connsiteY24" fmla="*/ 38100 h 533840"/>
              <a:gd name="connsiteX25" fmla="*/ 61912 w 242887"/>
              <a:gd name="connsiteY25" fmla="*/ 33337 h 533840"/>
              <a:gd name="connsiteX26" fmla="*/ 76200 w 242887"/>
              <a:gd name="connsiteY26" fmla="*/ 28575 h 533840"/>
              <a:gd name="connsiteX27" fmla="*/ 90487 w 242887"/>
              <a:gd name="connsiteY27" fmla="*/ 19050 h 533840"/>
              <a:gd name="connsiteX28" fmla="*/ 133350 w 242887"/>
              <a:gd name="connsiteY28" fmla="*/ 9525 h 533840"/>
              <a:gd name="connsiteX29" fmla="*/ 180975 w 242887"/>
              <a:gd name="connsiteY29" fmla="*/ 0 h 533840"/>
              <a:gd name="connsiteX30" fmla="*/ 200025 w 242887"/>
              <a:gd name="connsiteY30" fmla="*/ 4762 h 533840"/>
              <a:gd name="connsiteX31" fmla="*/ 214312 w 242887"/>
              <a:gd name="connsiteY31" fmla="*/ 33337 h 533840"/>
              <a:gd name="connsiteX32" fmla="*/ 219075 w 242887"/>
              <a:gd name="connsiteY32" fmla="*/ 66675 h 533840"/>
              <a:gd name="connsiteX33" fmla="*/ 223837 w 242887"/>
              <a:gd name="connsiteY33" fmla="*/ 104775 h 533840"/>
              <a:gd name="connsiteX34" fmla="*/ 233362 w 242887"/>
              <a:gd name="connsiteY34" fmla="*/ 133350 h 533840"/>
              <a:gd name="connsiteX35" fmla="*/ 223837 w 242887"/>
              <a:gd name="connsiteY35" fmla="*/ 223837 h 533840"/>
              <a:gd name="connsiteX36" fmla="*/ 219075 w 242887"/>
              <a:gd name="connsiteY36" fmla="*/ 242887 h 533840"/>
              <a:gd name="connsiteX37" fmla="*/ 228600 w 242887"/>
              <a:gd name="connsiteY37" fmla="*/ 366712 h 533840"/>
              <a:gd name="connsiteX38" fmla="*/ 233362 w 242887"/>
              <a:gd name="connsiteY38" fmla="*/ 390525 h 533840"/>
              <a:gd name="connsiteX39" fmla="*/ 242887 w 242887"/>
              <a:gd name="connsiteY39" fmla="*/ 438150 h 533840"/>
              <a:gd name="connsiteX40" fmla="*/ 223837 w 242887"/>
              <a:gd name="connsiteY40" fmla="*/ 481012 h 533840"/>
              <a:gd name="connsiteX41" fmla="*/ 195262 w 242887"/>
              <a:gd name="connsiteY41" fmla="*/ 490537 h 533840"/>
              <a:gd name="connsiteX42" fmla="*/ 185737 w 242887"/>
              <a:gd name="connsiteY42" fmla="*/ 504825 h 533840"/>
              <a:gd name="connsiteX43" fmla="*/ 171450 w 242887"/>
              <a:gd name="connsiteY43" fmla="*/ 509587 h 533840"/>
              <a:gd name="connsiteX44" fmla="*/ 161925 w 242887"/>
              <a:gd name="connsiteY44" fmla="*/ 500062 h 53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2887" h="533840">
                <a:moveTo>
                  <a:pt x="161925" y="500062"/>
                </a:moveTo>
                <a:cubicBezTo>
                  <a:pt x="154781" y="499268"/>
                  <a:pt x="139751" y="503650"/>
                  <a:pt x="128587" y="504825"/>
                </a:cubicBezTo>
                <a:cubicBezTo>
                  <a:pt x="55265" y="512543"/>
                  <a:pt x="93286" y="504124"/>
                  <a:pt x="52387" y="514350"/>
                </a:cubicBezTo>
                <a:cubicBezTo>
                  <a:pt x="18208" y="537136"/>
                  <a:pt x="31906" y="541495"/>
                  <a:pt x="9525" y="519112"/>
                </a:cubicBezTo>
                <a:cubicBezTo>
                  <a:pt x="14287" y="517525"/>
                  <a:pt x="20262" y="517900"/>
                  <a:pt x="23812" y="514350"/>
                </a:cubicBezTo>
                <a:cubicBezTo>
                  <a:pt x="26131" y="512031"/>
                  <a:pt x="33243" y="481232"/>
                  <a:pt x="33337" y="481012"/>
                </a:cubicBezTo>
                <a:cubicBezTo>
                  <a:pt x="35592" y="475751"/>
                  <a:pt x="39687" y="471487"/>
                  <a:pt x="42862" y="466725"/>
                </a:cubicBezTo>
                <a:cubicBezTo>
                  <a:pt x="41275" y="457200"/>
                  <a:pt x="41153" y="447311"/>
                  <a:pt x="38100" y="438150"/>
                </a:cubicBezTo>
                <a:cubicBezTo>
                  <a:pt x="36290" y="432720"/>
                  <a:pt x="30585" y="429221"/>
                  <a:pt x="28575" y="423862"/>
                </a:cubicBezTo>
                <a:cubicBezTo>
                  <a:pt x="25733" y="416283"/>
                  <a:pt x="25400" y="407987"/>
                  <a:pt x="23812" y="400050"/>
                </a:cubicBezTo>
                <a:cubicBezTo>
                  <a:pt x="28575" y="396875"/>
                  <a:pt x="32839" y="392780"/>
                  <a:pt x="38100" y="390525"/>
                </a:cubicBezTo>
                <a:cubicBezTo>
                  <a:pt x="51060" y="384971"/>
                  <a:pt x="86842" y="382051"/>
                  <a:pt x="95250" y="381000"/>
                </a:cubicBezTo>
                <a:cubicBezTo>
                  <a:pt x="107217" y="345093"/>
                  <a:pt x="91076" y="389347"/>
                  <a:pt x="109537" y="352425"/>
                </a:cubicBezTo>
                <a:cubicBezTo>
                  <a:pt x="111782" y="347935"/>
                  <a:pt x="110750" y="341687"/>
                  <a:pt x="114300" y="338137"/>
                </a:cubicBezTo>
                <a:cubicBezTo>
                  <a:pt x="122395" y="330042"/>
                  <a:pt x="142875" y="319087"/>
                  <a:pt x="142875" y="319087"/>
                </a:cubicBezTo>
                <a:cubicBezTo>
                  <a:pt x="141287" y="307975"/>
                  <a:pt x="144139" y="295220"/>
                  <a:pt x="138112" y="285750"/>
                </a:cubicBezTo>
                <a:cubicBezTo>
                  <a:pt x="129295" y="271895"/>
                  <a:pt x="109901" y="266821"/>
                  <a:pt x="95250" y="261937"/>
                </a:cubicBezTo>
                <a:cubicBezTo>
                  <a:pt x="93662" y="257175"/>
                  <a:pt x="94572" y="250568"/>
                  <a:pt x="90487" y="247650"/>
                </a:cubicBezTo>
                <a:cubicBezTo>
                  <a:pt x="82317" y="241814"/>
                  <a:pt x="61912" y="238125"/>
                  <a:pt x="61912" y="238125"/>
                </a:cubicBezTo>
                <a:cubicBezTo>
                  <a:pt x="39531" y="215742"/>
                  <a:pt x="51361" y="229441"/>
                  <a:pt x="28575" y="195262"/>
                </a:cubicBezTo>
                <a:cubicBezTo>
                  <a:pt x="23006" y="186908"/>
                  <a:pt x="22225" y="176212"/>
                  <a:pt x="19050" y="166687"/>
                </a:cubicBezTo>
                <a:cubicBezTo>
                  <a:pt x="17240" y="161257"/>
                  <a:pt x="12700" y="157162"/>
                  <a:pt x="9525" y="152400"/>
                </a:cubicBezTo>
                <a:cubicBezTo>
                  <a:pt x="1406" y="119927"/>
                  <a:pt x="0" y="118823"/>
                  <a:pt x="0" y="71437"/>
                </a:cubicBezTo>
                <a:cubicBezTo>
                  <a:pt x="0" y="66417"/>
                  <a:pt x="1626" y="61070"/>
                  <a:pt x="4762" y="57150"/>
                </a:cubicBezTo>
                <a:cubicBezTo>
                  <a:pt x="12995" y="46859"/>
                  <a:pt x="38894" y="41010"/>
                  <a:pt x="47625" y="38100"/>
                </a:cubicBezTo>
                <a:lnTo>
                  <a:pt x="61912" y="33337"/>
                </a:lnTo>
                <a:lnTo>
                  <a:pt x="76200" y="28575"/>
                </a:lnTo>
                <a:cubicBezTo>
                  <a:pt x="80962" y="25400"/>
                  <a:pt x="85226" y="21305"/>
                  <a:pt x="90487" y="19050"/>
                </a:cubicBezTo>
                <a:cubicBezTo>
                  <a:pt x="97338" y="16114"/>
                  <a:pt x="127917" y="10883"/>
                  <a:pt x="133350" y="9525"/>
                </a:cubicBezTo>
                <a:cubicBezTo>
                  <a:pt x="177689" y="-1560"/>
                  <a:pt x="99280" y="11669"/>
                  <a:pt x="180975" y="0"/>
                </a:cubicBezTo>
                <a:cubicBezTo>
                  <a:pt x="187325" y="1587"/>
                  <a:pt x="194579" y="1131"/>
                  <a:pt x="200025" y="4762"/>
                </a:cubicBezTo>
                <a:cubicBezTo>
                  <a:pt x="207938" y="10038"/>
                  <a:pt x="211595" y="25187"/>
                  <a:pt x="214312" y="33337"/>
                </a:cubicBezTo>
                <a:cubicBezTo>
                  <a:pt x="215900" y="44450"/>
                  <a:pt x="217591" y="55548"/>
                  <a:pt x="219075" y="66675"/>
                </a:cubicBezTo>
                <a:cubicBezTo>
                  <a:pt x="220767" y="79362"/>
                  <a:pt x="221155" y="92260"/>
                  <a:pt x="223837" y="104775"/>
                </a:cubicBezTo>
                <a:cubicBezTo>
                  <a:pt x="225941" y="114592"/>
                  <a:pt x="233362" y="133350"/>
                  <a:pt x="233362" y="133350"/>
                </a:cubicBezTo>
                <a:cubicBezTo>
                  <a:pt x="230600" y="166496"/>
                  <a:pt x="229582" y="192240"/>
                  <a:pt x="223837" y="223837"/>
                </a:cubicBezTo>
                <a:cubicBezTo>
                  <a:pt x="222666" y="230277"/>
                  <a:pt x="220662" y="236537"/>
                  <a:pt x="219075" y="242887"/>
                </a:cubicBezTo>
                <a:cubicBezTo>
                  <a:pt x="220967" y="271271"/>
                  <a:pt x="224642" y="335044"/>
                  <a:pt x="228600" y="366712"/>
                </a:cubicBezTo>
                <a:cubicBezTo>
                  <a:pt x="229604" y="374744"/>
                  <a:pt x="232031" y="382540"/>
                  <a:pt x="233362" y="390525"/>
                </a:cubicBezTo>
                <a:cubicBezTo>
                  <a:pt x="240658" y="434302"/>
                  <a:pt x="233760" y="410766"/>
                  <a:pt x="242887" y="438150"/>
                </a:cubicBezTo>
                <a:cubicBezTo>
                  <a:pt x="239489" y="458542"/>
                  <a:pt x="243230" y="470238"/>
                  <a:pt x="223837" y="481012"/>
                </a:cubicBezTo>
                <a:cubicBezTo>
                  <a:pt x="215060" y="485888"/>
                  <a:pt x="195262" y="490537"/>
                  <a:pt x="195262" y="490537"/>
                </a:cubicBezTo>
                <a:cubicBezTo>
                  <a:pt x="192087" y="495300"/>
                  <a:pt x="190207" y="501249"/>
                  <a:pt x="185737" y="504825"/>
                </a:cubicBezTo>
                <a:cubicBezTo>
                  <a:pt x="181817" y="507961"/>
                  <a:pt x="176111" y="507723"/>
                  <a:pt x="171450" y="509587"/>
                </a:cubicBezTo>
                <a:cubicBezTo>
                  <a:pt x="168154" y="510905"/>
                  <a:pt x="169069" y="500856"/>
                  <a:pt x="161925" y="500062"/>
                </a:cubicBezTo>
                <a:close/>
              </a:path>
            </a:pathLst>
          </a:custGeom>
          <a:solidFill>
            <a:schemeClr val="accent1"/>
          </a:solidFill>
          <a:effectLst/>
        </p:spPr>
        <p:txBody>
          <a:bodyPr wrap="square" rtlCol="0" anchor="t">
            <a:normAutofit/>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36" name="Freeform 235"/>
          <p:cNvSpPr/>
          <p:nvPr/>
        </p:nvSpPr>
        <p:spPr>
          <a:xfrm>
            <a:off x="4874783" y="1704975"/>
            <a:ext cx="130605" cy="157164"/>
          </a:xfrm>
          <a:custGeom>
            <a:avLst/>
            <a:gdLst>
              <a:gd name="connsiteX0" fmla="*/ 2017 w 130605"/>
              <a:gd name="connsiteY0" fmla="*/ 157163 h 157164"/>
              <a:gd name="connsiteX1" fmla="*/ 25830 w 130605"/>
              <a:gd name="connsiteY1" fmla="*/ 152400 h 157164"/>
              <a:gd name="connsiteX2" fmla="*/ 44880 w 130605"/>
              <a:gd name="connsiteY2" fmla="*/ 123825 h 157164"/>
              <a:gd name="connsiteX3" fmla="*/ 49642 w 130605"/>
              <a:gd name="connsiteY3" fmla="*/ 80963 h 157164"/>
              <a:gd name="connsiteX4" fmla="*/ 54405 w 130605"/>
              <a:gd name="connsiteY4" fmla="*/ 66675 h 157164"/>
              <a:gd name="connsiteX5" fmla="*/ 59167 w 130605"/>
              <a:gd name="connsiteY5" fmla="*/ 4763 h 157164"/>
              <a:gd name="connsiteX6" fmla="*/ 73455 w 130605"/>
              <a:gd name="connsiteY6" fmla="*/ 0 h 157164"/>
              <a:gd name="connsiteX7" fmla="*/ 97267 w 130605"/>
              <a:gd name="connsiteY7" fmla="*/ 4763 h 157164"/>
              <a:gd name="connsiteX8" fmla="*/ 106792 w 130605"/>
              <a:gd name="connsiteY8" fmla="*/ 19050 h 157164"/>
              <a:gd name="connsiteX9" fmla="*/ 121080 w 130605"/>
              <a:gd name="connsiteY9" fmla="*/ 33338 h 157164"/>
              <a:gd name="connsiteX10" fmla="*/ 125842 w 130605"/>
              <a:gd name="connsiteY10" fmla="*/ 52388 h 157164"/>
              <a:gd name="connsiteX11" fmla="*/ 130605 w 130605"/>
              <a:gd name="connsiteY11" fmla="*/ 66675 h 157164"/>
              <a:gd name="connsiteX12" fmla="*/ 125842 w 130605"/>
              <a:gd name="connsiteY12" fmla="*/ 95250 h 157164"/>
              <a:gd name="connsiteX13" fmla="*/ 116317 w 130605"/>
              <a:gd name="connsiteY13" fmla="*/ 123825 h 157164"/>
              <a:gd name="connsiteX14" fmla="*/ 97267 w 130605"/>
              <a:gd name="connsiteY14" fmla="*/ 147638 h 157164"/>
              <a:gd name="connsiteX15" fmla="*/ 82980 w 130605"/>
              <a:gd name="connsiteY15" fmla="*/ 152400 h 157164"/>
              <a:gd name="connsiteX16" fmla="*/ 2017 w 130605"/>
              <a:gd name="connsiteY16" fmla="*/ 157163 h 15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605" h="157164">
                <a:moveTo>
                  <a:pt x="2017" y="157163"/>
                </a:moveTo>
                <a:cubicBezTo>
                  <a:pt x="-7508" y="157163"/>
                  <a:pt x="19440" y="157370"/>
                  <a:pt x="25830" y="152400"/>
                </a:cubicBezTo>
                <a:cubicBezTo>
                  <a:pt x="34866" y="145372"/>
                  <a:pt x="44880" y="123825"/>
                  <a:pt x="44880" y="123825"/>
                </a:cubicBezTo>
                <a:cubicBezTo>
                  <a:pt x="46467" y="109538"/>
                  <a:pt x="47279" y="95143"/>
                  <a:pt x="49642" y="80963"/>
                </a:cubicBezTo>
                <a:cubicBezTo>
                  <a:pt x="50467" y="76011"/>
                  <a:pt x="53782" y="71657"/>
                  <a:pt x="54405" y="66675"/>
                </a:cubicBezTo>
                <a:cubicBezTo>
                  <a:pt x="56972" y="46137"/>
                  <a:pt x="53481" y="24665"/>
                  <a:pt x="59167" y="4763"/>
                </a:cubicBezTo>
                <a:cubicBezTo>
                  <a:pt x="60546" y="-64"/>
                  <a:pt x="68692" y="1588"/>
                  <a:pt x="73455" y="0"/>
                </a:cubicBezTo>
                <a:cubicBezTo>
                  <a:pt x="81392" y="1588"/>
                  <a:pt x="90239" y="747"/>
                  <a:pt x="97267" y="4763"/>
                </a:cubicBezTo>
                <a:cubicBezTo>
                  <a:pt x="102237" y="7603"/>
                  <a:pt x="103128" y="14653"/>
                  <a:pt x="106792" y="19050"/>
                </a:cubicBezTo>
                <a:cubicBezTo>
                  <a:pt x="111104" y="24224"/>
                  <a:pt x="116317" y="28575"/>
                  <a:pt x="121080" y="33338"/>
                </a:cubicBezTo>
                <a:cubicBezTo>
                  <a:pt x="122667" y="39688"/>
                  <a:pt x="124044" y="46094"/>
                  <a:pt x="125842" y="52388"/>
                </a:cubicBezTo>
                <a:cubicBezTo>
                  <a:pt x="127221" y="57215"/>
                  <a:pt x="130605" y="61655"/>
                  <a:pt x="130605" y="66675"/>
                </a:cubicBezTo>
                <a:cubicBezTo>
                  <a:pt x="130605" y="76331"/>
                  <a:pt x="128184" y="85882"/>
                  <a:pt x="125842" y="95250"/>
                </a:cubicBezTo>
                <a:cubicBezTo>
                  <a:pt x="123407" y="104990"/>
                  <a:pt x="119492" y="114300"/>
                  <a:pt x="116317" y="123825"/>
                </a:cubicBezTo>
                <a:cubicBezTo>
                  <a:pt x="110824" y="140305"/>
                  <a:pt x="114502" y="139021"/>
                  <a:pt x="97267" y="147638"/>
                </a:cubicBezTo>
                <a:cubicBezTo>
                  <a:pt x="92777" y="149883"/>
                  <a:pt x="87989" y="152066"/>
                  <a:pt x="82980" y="152400"/>
                </a:cubicBezTo>
                <a:lnTo>
                  <a:pt x="2017" y="157163"/>
                </a:lnTo>
                <a:close/>
              </a:path>
            </a:pathLst>
          </a:cu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38" name="Freeform 237"/>
          <p:cNvSpPr/>
          <p:nvPr/>
        </p:nvSpPr>
        <p:spPr>
          <a:xfrm>
            <a:off x="4814887" y="1747838"/>
            <a:ext cx="152400" cy="223837"/>
          </a:xfrm>
          <a:custGeom>
            <a:avLst/>
            <a:gdLst>
              <a:gd name="connsiteX0" fmla="*/ 42862 w 152400"/>
              <a:gd name="connsiteY0" fmla="*/ 223837 h 223837"/>
              <a:gd name="connsiteX1" fmla="*/ 9525 w 152400"/>
              <a:gd name="connsiteY1" fmla="*/ 219075 h 223837"/>
              <a:gd name="connsiteX2" fmla="*/ 0 w 152400"/>
              <a:gd name="connsiteY2" fmla="*/ 190500 h 223837"/>
              <a:gd name="connsiteX3" fmla="*/ 38100 w 152400"/>
              <a:gd name="connsiteY3" fmla="*/ 123825 h 223837"/>
              <a:gd name="connsiteX4" fmla="*/ 23812 w 152400"/>
              <a:gd name="connsiteY4" fmla="*/ 128587 h 223837"/>
              <a:gd name="connsiteX5" fmla="*/ 61912 w 152400"/>
              <a:gd name="connsiteY5" fmla="*/ 123825 h 223837"/>
              <a:gd name="connsiteX6" fmla="*/ 76200 w 152400"/>
              <a:gd name="connsiteY6" fmla="*/ 119062 h 223837"/>
              <a:gd name="connsiteX7" fmla="*/ 71437 w 152400"/>
              <a:gd name="connsiteY7" fmla="*/ 104775 h 223837"/>
              <a:gd name="connsiteX8" fmla="*/ 95250 w 152400"/>
              <a:gd name="connsiteY8" fmla="*/ 66675 h 223837"/>
              <a:gd name="connsiteX9" fmla="*/ 104775 w 152400"/>
              <a:gd name="connsiteY9" fmla="*/ 38100 h 223837"/>
              <a:gd name="connsiteX10" fmla="*/ 109537 w 152400"/>
              <a:gd name="connsiteY10" fmla="*/ 23812 h 223837"/>
              <a:gd name="connsiteX11" fmla="*/ 114300 w 152400"/>
              <a:gd name="connsiteY11" fmla="*/ 0 h 223837"/>
              <a:gd name="connsiteX12" fmla="*/ 133350 w 152400"/>
              <a:gd name="connsiteY12" fmla="*/ 4762 h 223837"/>
              <a:gd name="connsiteX13" fmla="*/ 138112 w 152400"/>
              <a:gd name="connsiteY13" fmla="*/ 19050 h 223837"/>
              <a:gd name="connsiteX14" fmla="*/ 152400 w 152400"/>
              <a:gd name="connsiteY14" fmla="*/ 52387 h 223837"/>
              <a:gd name="connsiteX15" fmla="*/ 142875 w 152400"/>
              <a:gd name="connsiteY15" fmla="*/ 138112 h 223837"/>
              <a:gd name="connsiteX16" fmla="*/ 133350 w 152400"/>
              <a:gd name="connsiteY16" fmla="*/ 152400 h 223837"/>
              <a:gd name="connsiteX17" fmla="*/ 119062 w 152400"/>
              <a:gd name="connsiteY17" fmla="*/ 161925 h 223837"/>
              <a:gd name="connsiteX18" fmla="*/ 95250 w 152400"/>
              <a:gd name="connsiteY18" fmla="*/ 185737 h 223837"/>
              <a:gd name="connsiteX19" fmla="*/ 71437 w 152400"/>
              <a:gd name="connsiteY19" fmla="*/ 209550 h 223837"/>
              <a:gd name="connsiteX20" fmla="*/ 42862 w 152400"/>
              <a:gd name="connsiteY20" fmla="*/ 219075 h 223837"/>
              <a:gd name="connsiteX21" fmla="*/ 42862 w 152400"/>
              <a:gd name="connsiteY21" fmla="*/ 223837 h 22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400" h="223837">
                <a:moveTo>
                  <a:pt x="42862" y="223837"/>
                </a:moveTo>
                <a:cubicBezTo>
                  <a:pt x="31750" y="222250"/>
                  <a:pt x="18386" y="225967"/>
                  <a:pt x="9525" y="219075"/>
                </a:cubicBezTo>
                <a:cubicBezTo>
                  <a:pt x="1600" y="212911"/>
                  <a:pt x="0" y="190500"/>
                  <a:pt x="0" y="190500"/>
                </a:cubicBezTo>
                <a:cubicBezTo>
                  <a:pt x="31316" y="133087"/>
                  <a:pt x="17541" y="154663"/>
                  <a:pt x="38100" y="123825"/>
                </a:cubicBezTo>
                <a:cubicBezTo>
                  <a:pt x="40885" y="119648"/>
                  <a:pt x="18831" y="129210"/>
                  <a:pt x="23812" y="128587"/>
                </a:cubicBezTo>
                <a:lnTo>
                  <a:pt x="61912" y="123825"/>
                </a:lnTo>
                <a:cubicBezTo>
                  <a:pt x="66675" y="122237"/>
                  <a:pt x="73955" y="123552"/>
                  <a:pt x="76200" y="119062"/>
                </a:cubicBezTo>
                <a:cubicBezTo>
                  <a:pt x="78445" y="114572"/>
                  <a:pt x="70883" y="109764"/>
                  <a:pt x="71437" y="104775"/>
                </a:cubicBezTo>
                <a:cubicBezTo>
                  <a:pt x="74611" y="76211"/>
                  <a:pt x="77261" y="78667"/>
                  <a:pt x="95250" y="66675"/>
                </a:cubicBezTo>
                <a:lnTo>
                  <a:pt x="104775" y="38100"/>
                </a:lnTo>
                <a:cubicBezTo>
                  <a:pt x="106362" y="33337"/>
                  <a:pt x="108552" y="28735"/>
                  <a:pt x="109537" y="23812"/>
                </a:cubicBezTo>
                <a:lnTo>
                  <a:pt x="114300" y="0"/>
                </a:lnTo>
                <a:cubicBezTo>
                  <a:pt x="120650" y="1587"/>
                  <a:pt x="128239" y="673"/>
                  <a:pt x="133350" y="4762"/>
                </a:cubicBezTo>
                <a:cubicBezTo>
                  <a:pt x="137270" y="7898"/>
                  <a:pt x="136135" y="14436"/>
                  <a:pt x="138112" y="19050"/>
                </a:cubicBezTo>
                <a:cubicBezTo>
                  <a:pt x="155774" y="60263"/>
                  <a:pt x="141226" y="18868"/>
                  <a:pt x="152400" y="52387"/>
                </a:cubicBezTo>
                <a:cubicBezTo>
                  <a:pt x="151805" y="61304"/>
                  <a:pt x="154236" y="115388"/>
                  <a:pt x="142875" y="138112"/>
                </a:cubicBezTo>
                <a:cubicBezTo>
                  <a:pt x="140315" y="143232"/>
                  <a:pt x="137397" y="148353"/>
                  <a:pt x="133350" y="152400"/>
                </a:cubicBezTo>
                <a:cubicBezTo>
                  <a:pt x="129303" y="156447"/>
                  <a:pt x="123825" y="158750"/>
                  <a:pt x="119062" y="161925"/>
                </a:cubicBezTo>
                <a:cubicBezTo>
                  <a:pt x="93659" y="200028"/>
                  <a:pt x="127002" y="153984"/>
                  <a:pt x="95250" y="185737"/>
                </a:cubicBezTo>
                <a:cubicBezTo>
                  <a:pt x="78740" y="202248"/>
                  <a:pt x="94298" y="199390"/>
                  <a:pt x="71437" y="209550"/>
                </a:cubicBezTo>
                <a:cubicBezTo>
                  <a:pt x="62262" y="213628"/>
                  <a:pt x="51842" y="214585"/>
                  <a:pt x="42862" y="219075"/>
                </a:cubicBezTo>
                <a:lnTo>
                  <a:pt x="42862" y="223837"/>
                </a:lnTo>
                <a:close/>
              </a:path>
            </a:pathLst>
          </a:custGeom>
          <a:solidFill>
            <a:schemeClr val="accent1"/>
          </a:solidFill>
          <a:effectLst/>
        </p:spPr>
        <p:txBody>
          <a:bodyPr wrap="square" rtlCol="0" anchor="t">
            <a:normAutofit fontScale="55000" lnSpcReduction="20000"/>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39" name="Freeform 238"/>
          <p:cNvSpPr/>
          <p:nvPr/>
        </p:nvSpPr>
        <p:spPr>
          <a:xfrm>
            <a:off x="4848225" y="1933575"/>
            <a:ext cx="180975" cy="62138"/>
          </a:xfrm>
          <a:custGeom>
            <a:avLst/>
            <a:gdLst>
              <a:gd name="connsiteX0" fmla="*/ 14288 w 180975"/>
              <a:gd name="connsiteY0" fmla="*/ 42863 h 62138"/>
              <a:gd name="connsiteX1" fmla="*/ 38100 w 180975"/>
              <a:gd name="connsiteY1" fmla="*/ 57150 h 62138"/>
              <a:gd name="connsiteX2" fmla="*/ 133350 w 180975"/>
              <a:gd name="connsiteY2" fmla="*/ 57150 h 62138"/>
              <a:gd name="connsiteX3" fmla="*/ 180975 w 180975"/>
              <a:gd name="connsiteY3" fmla="*/ 23813 h 62138"/>
              <a:gd name="connsiteX4" fmla="*/ 176213 w 180975"/>
              <a:gd name="connsiteY4" fmla="*/ 4763 h 62138"/>
              <a:gd name="connsiteX5" fmla="*/ 161925 w 180975"/>
              <a:gd name="connsiteY5" fmla="*/ 0 h 62138"/>
              <a:gd name="connsiteX6" fmla="*/ 23813 w 180975"/>
              <a:gd name="connsiteY6" fmla="*/ 4763 h 62138"/>
              <a:gd name="connsiteX7" fmla="*/ 0 w 180975"/>
              <a:gd name="connsiteY7" fmla="*/ 23813 h 62138"/>
              <a:gd name="connsiteX8" fmla="*/ 14288 w 180975"/>
              <a:gd name="connsiteY8" fmla="*/ 42863 h 6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975" h="62138">
                <a:moveTo>
                  <a:pt x="14288" y="42863"/>
                </a:moveTo>
                <a:cubicBezTo>
                  <a:pt x="22225" y="47625"/>
                  <a:pt x="29156" y="54765"/>
                  <a:pt x="38100" y="57150"/>
                </a:cubicBezTo>
                <a:cubicBezTo>
                  <a:pt x="72739" y="66387"/>
                  <a:pt x="98711" y="60614"/>
                  <a:pt x="133350" y="57150"/>
                </a:cubicBezTo>
                <a:cubicBezTo>
                  <a:pt x="168529" y="33697"/>
                  <a:pt x="152767" y="44968"/>
                  <a:pt x="180975" y="23813"/>
                </a:cubicBezTo>
                <a:cubicBezTo>
                  <a:pt x="179388" y="17463"/>
                  <a:pt x="180302" y="9874"/>
                  <a:pt x="176213" y="4763"/>
                </a:cubicBezTo>
                <a:cubicBezTo>
                  <a:pt x="173077" y="843"/>
                  <a:pt x="166945" y="0"/>
                  <a:pt x="161925" y="0"/>
                </a:cubicBezTo>
                <a:cubicBezTo>
                  <a:pt x="115860" y="0"/>
                  <a:pt x="69850" y="3175"/>
                  <a:pt x="23813" y="4763"/>
                </a:cubicBezTo>
                <a:cubicBezTo>
                  <a:pt x="14891" y="7737"/>
                  <a:pt x="0" y="9451"/>
                  <a:pt x="0" y="23813"/>
                </a:cubicBezTo>
                <a:lnTo>
                  <a:pt x="14288" y="42863"/>
                </a:lnTo>
                <a:close/>
              </a:path>
            </a:pathLst>
          </a:cu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75" name="Freeform 274"/>
          <p:cNvSpPr/>
          <p:nvPr/>
        </p:nvSpPr>
        <p:spPr>
          <a:xfrm>
            <a:off x="4900613" y="1666875"/>
            <a:ext cx="81464" cy="109538"/>
          </a:xfrm>
          <a:custGeom>
            <a:avLst/>
            <a:gdLst>
              <a:gd name="connsiteX0" fmla="*/ 0 w 81464"/>
              <a:gd name="connsiteY0" fmla="*/ 23813 h 109538"/>
              <a:gd name="connsiteX1" fmla="*/ 4762 w 81464"/>
              <a:gd name="connsiteY1" fmla="*/ 47625 h 109538"/>
              <a:gd name="connsiteX2" fmla="*/ 19050 w 81464"/>
              <a:gd name="connsiteY2" fmla="*/ 90488 h 109538"/>
              <a:gd name="connsiteX3" fmla="*/ 33337 w 81464"/>
              <a:gd name="connsiteY3" fmla="*/ 100013 h 109538"/>
              <a:gd name="connsiteX4" fmla="*/ 61912 w 81464"/>
              <a:gd name="connsiteY4" fmla="*/ 109538 h 109538"/>
              <a:gd name="connsiteX5" fmla="*/ 76200 w 81464"/>
              <a:gd name="connsiteY5" fmla="*/ 100013 h 109538"/>
              <a:gd name="connsiteX6" fmla="*/ 76200 w 81464"/>
              <a:gd name="connsiteY6" fmla="*/ 33338 h 109538"/>
              <a:gd name="connsiteX7" fmla="*/ 57150 w 81464"/>
              <a:gd name="connsiteY7" fmla="*/ 14288 h 109538"/>
              <a:gd name="connsiteX8" fmla="*/ 23812 w 81464"/>
              <a:gd name="connsiteY8" fmla="*/ 0 h 109538"/>
              <a:gd name="connsiteX9" fmla="*/ 0 w 81464"/>
              <a:gd name="connsiteY9" fmla="*/ 23813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64" h="109538">
                <a:moveTo>
                  <a:pt x="0" y="23813"/>
                </a:moveTo>
                <a:cubicBezTo>
                  <a:pt x="1587" y="31750"/>
                  <a:pt x="2632" y="39816"/>
                  <a:pt x="4762" y="47625"/>
                </a:cubicBezTo>
                <a:cubicBezTo>
                  <a:pt x="4765" y="47638"/>
                  <a:pt x="16667" y="83338"/>
                  <a:pt x="19050" y="90488"/>
                </a:cubicBezTo>
                <a:cubicBezTo>
                  <a:pt x="20860" y="95918"/>
                  <a:pt x="28107" y="97688"/>
                  <a:pt x="33337" y="100013"/>
                </a:cubicBezTo>
                <a:cubicBezTo>
                  <a:pt x="42512" y="104091"/>
                  <a:pt x="61912" y="109538"/>
                  <a:pt x="61912" y="109538"/>
                </a:cubicBezTo>
                <a:cubicBezTo>
                  <a:pt x="66675" y="106363"/>
                  <a:pt x="72624" y="104483"/>
                  <a:pt x="76200" y="100013"/>
                </a:cubicBezTo>
                <a:cubicBezTo>
                  <a:pt x="87939" y="85339"/>
                  <a:pt x="76412" y="33973"/>
                  <a:pt x="76200" y="33338"/>
                </a:cubicBezTo>
                <a:cubicBezTo>
                  <a:pt x="73360" y="24819"/>
                  <a:pt x="64334" y="19676"/>
                  <a:pt x="57150" y="14288"/>
                </a:cubicBezTo>
                <a:cubicBezTo>
                  <a:pt x="47735" y="7226"/>
                  <a:pt x="34847" y="3679"/>
                  <a:pt x="23812" y="0"/>
                </a:cubicBezTo>
                <a:lnTo>
                  <a:pt x="0" y="23813"/>
                </a:lnTo>
                <a:close/>
              </a:path>
            </a:pathLst>
          </a:cu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en-US" sz="2000" dirty="0" err="1" smtClean="0">
              <a:solidFill>
                <a:srgbClr val="FFFFFF"/>
              </a:solidFill>
              <a:latin typeface="Museo Sans For Dell"/>
            </a:endParaRPr>
          </a:p>
        </p:txBody>
      </p:sp>
      <p:sp>
        <p:nvSpPr>
          <p:cNvPr id="290" name="AutoShape 32"/>
          <p:cNvSpPr>
            <a:spLocks noChangeArrowheads="1"/>
          </p:cNvSpPr>
          <p:nvPr/>
        </p:nvSpPr>
        <p:spPr bwMode="auto">
          <a:xfrm flipH="1" flipV="1">
            <a:off x="1664187" y="2460395"/>
            <a:ext cx="100584" cy="97653"/>
          </a:xfrm>
          <a:prstGeom prst="ellipse">
            <a:avLst/>
          </a:prstGeom>
          <a:solidFill>
            <a:schemeClr val="accent4">
              <a:lumMod val="75000"/>
            </a:schemeClr>
          </a:solidFill>
          <a:ln>
            <a:solidFill>
              <a:srgbClr val="C00000"/>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sp>
        <p:nvSpPr>
          <p:cNvPr id="297" name="AutoShape 32"/>
          <p:cNvSpPr>
            <a:spLocks noChangeArrowheads="1"/>
          </p:cNvSpPr>
          <p:nvPr/>
        </p:nvSpPr>
        <p:spPr bwMode="auto">
          <a:xfrm flipH="1" flipV="1">
            <a:off x="343908" y="4842688"/>
            <a:ext cx="100584" cy="97653"/>
          </a:xfrm>
          <a:prstGeom prst="ellipse">
            <a:avLst/>
          </a:prstGeom>
          <a:solidFill>
            <a:schemeClr val="accent4">
              <a:lumMod val="75000"/>
            </a:schemeClr>
          </a:solidFill>
          <a:ln>
            <a:solidFill>
              <a:srgbClr val="C00000"/>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defRPr/>
            </a:pPr>
            <a:endParaRPr lang="en-US" dirty="0">
              <a:solidFill>
                <a:srgbClr val="FFFFFF"/>
              </a:solidFill>
            </a:endParaRPr>
          </a:p>
        </p:txBody>
      </p:sp>
      <p:sp>
        <p:nvSpPr>
          <p:cNvPr id="306" name="Line 61"/>
          <p:cNvSpPr>
            <a:spLocks noChangeShapeType="1"/>
          </p:cNvSpPr>
          <p:nvPr/>
        </p:nvSpPr>
        <p:spPr bwMode="auto">
          <a:xfrm>
            <a:off x="1061605" y="2428164"/>
            <a:ext cx="604919" cy="107926"/>
          </a:xfrm>
          <a:prstGeom prst="line">
            <a:avLst/>
          </a:prstGeom>
          <a:noFill/>
          <a:ln w="9525">
            <a:solidFill>
              <a:schemeClr val="tx1">
                <a:lumMod val="60000"/>
                <a:lumOff val="40000"/>
              </a:schemeClr>
            </a:solidFill>
            <a:round/>
            <a:headEnd/>
            <a:tailEnd/>
          </a:ln>
        </p:spPr>
        <p:txBody>
          <a:bodyPr wrap="square">
            <a:spAutoFit/>
          </a:bodyPr>
          <a:lstStyle/>
          <a:p>
            <a:endParaRPr lang="en-US" dirty="0">
              <a:solidFill>
                <a:srgbClr val="FFFFFF"/>
              </a:solidFill>
            </a:endParaRPr>
          </a:p>
        </p:txBody>
      </p:sp>
      <p:sp>
        <p:nvSpPr>
          <p:cNvPr id="307" name="Text Box 58"/>
          <p:cNvSpPr txBox="1">
            <a:spLocks noChangeArrowheads="1"/>
          </p:cNvSpPr>
          <p:nvPr/>
        </p:nvSpPr>
        <p:spPr bwMode="auto">
          <a:xfrm>
            <a:off x="134448" y="2232222"/>
            <a:ext cx="1030410" cy="276999"/>
          </a:xfrm>
          <a:prstGeom prst="rect">
            <a:avLst/>
          </a:prstGeom>
          <a:noFill/>
          <a:ln w="9525" algn="ctr">
            <a:noFill/>
            <a:miter lim="800000"/>
            <a:headEnd/>
            <a:tailEnd/>
          </a:ln>
        </p:spPr>
        <p:txBody>
          <a:bodyPr wrap="none">
            <a:spAutoFit/>
          </a:bodyPr>
          <a:lstStyle/>
          <a:p>
            <a:pPr>
              <a:spcBef>
                <a:spcPct val="50000"/>
              </a:spcBef>
            </a:pPr>
            <a:r>
              <a:rPr lang="en-US" sz="1200" b="1" dirty="0" smtClean="0">
                <a:solidFill>
                  <a:srgbClr val="444444">
                    <a:lumMod val="60000"/>
                    <a:lumOff val="40000"/>
                  </a:srgbClr>
                </a:solidFill>
                <a:cs typeface="Arial" charset="0"/>
              </a:rPr>
              <a:t>Quincy, WA</a:t>
            </a:r>
            <a:endParaRPr lang="en-US" sz="1200" b="1" dirty="0">
              <a:solidFill>
                <a:srgbClr val="444444">
                  <a:lumMod val="60000"/>
                  <a:lumOff val="40000"/>
                </a:srgbClr>
              </a:solidFill>
              <a:cs typeface="Arial" charset="0"/>
            </a:endParaRPr>
          </a:p>
        </p:txBody>
      </p:sp>
    </p:spTree>
    <p:extLst>
      <p:ext uri="{BB962C8B-B14F-4D97-AF65-F5344CB8AC3E}">
        <p14:creationId xmlns:p14="http://schemas.microsoft.com/office/powerpoint/2010/main" val="700601054"/>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ail Notification– Successful Deployment</a:t>
            </a:r>
            <a:endParaRPr lang="en-US" dirty="0">
              <a:solidFill>
                <a:srgbClr val="FF0000"/>
              </a:solidFill>
            </a:endParaRPr>
          </a:p>
        </p:txBody>
      </p:sp>
      <p:pic>
        <p:nvPicPr>
          <p:cNvPr id="10" name="Content Placeholder 9"/>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325484" y="942975"/>
            <a:ext cx="8585904" cy="5652074"/>
          </a:xfr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7725" y="2140577"/>
            <a:ext cx="3330086" cy="2926723"/>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02678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Tips and Suggestions</a:t>
            </a:r>
            <a:endParaRPr lang="en-US" dirty="0"/>
          </a:p>
        </p:txBody>
      </p:sp>
    </p:spTree>
    <p:extLst>
      <p:ext uri="{BB962C8B-B14F-4D97-AF65-F5344CB8AC3E}">
        <p14:creationId xmlns:p14="http://schemas.microsoft.com/office/powerpoint/2010/main" val="3001593121"/>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half" idx="1"/>
            <p:extLst>
              <p:ext uri="{D42A27DB-BD31-4B8C-83A1-F6EECF244321}">
                <p14:modId xmlns:p14="http://schemas.microsoft.com/office/powerpoint/2010/main" val="2397832386"/>
              </p:ext>
            </p:extLst>
          </p:nvPr>
        </p:nvGraphicFramePr>
        <p:xfrm>
          <a:off x="119149" y="152400"/>
          <a:ext cx="8914015" cy="64562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86135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Q&amp;A</a:t>
            </a:r>
            <a:endParaRPr lang="en-US" dirty="0"/>
          </a:p>
        </p:txBody>
      </p:sp>
    </p:spTree>
    <p:extLst>
      <p:ext uri="{BB962C8B-B14F-4D97-AF65-F5344CB8AC3E}">
        <p14:creationId xmlns:p14="http://schemas.microsoft.com/office/powerpoint/2010/main" val="6616670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2024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0" y="1"/>
            <a:ext cx="9143999" cy="6615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p:nvPr/>
        </p:nvPicPr>
        <p:blipFill rotWithShape="1">
          <a:blip r:embed="rId3"/>
          <a:srcRect l="3231" t="40418" r="6972" b="6452"/>
          <a:stretch/>
        </p:blipFill>
        <p:spPr bwMode="auto">
          <a:xfrm>
            <a:off x="5046131" y="3881259"/>
            <a:ext cx="3880555" cy="2013655"/>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1841658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660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84953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0" y="0"/>
            <a:ext cx="9144000" cy="6646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val 3"/>
          <p:cNvSpPr/>
          <p:nvPr/>
        </p:nvSpPr>
        <p:spPr>
          <a:xfrm>
            <a:off x="4012442" y="4358987"/>
            <a:ext cx="3234520" cy="533400"/>
          </a:xfrm>
          <a:prstGeom prst="ellipse">
            <a:avLst/>
          </a:prstGeom>
          <a:no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4521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Business Objective</a:t>
            </a:r>
            <a:endParaRPr lang="en-US" dirty="0"/>
          </a:p>
        </p:txBody>
      </p:sp>
    </p:spTree>
    <p:extLst>
      <p:ext uri="{BB962C8B-B14F-4D97-AF65-F5344CB8AC3E}">
        <p14:creationId xmlns:p14="http://schemas.microsoft.com/office/powerpoint/2010/main" val="1212638667"/>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1"/>
          <p:cNvSpPr>
            <a:spLocks noGrp="1"/>
          </p:cNvSpPr>
          <p:nvPr>
            <p:ph type="title"/>
          </p:nvPr>
        </p:nvSpPr>
        <p:spPr bwMode="auto">
          <a:xfrm>
            <a:off x="425909" y="196172"/>
            <a:ext cx="8279943" cy="886397"/>
          </a:xfrm>
          <a:prstGeom prst="rect">
            <a:avLst/>
          </a:prstGeom>
          <a:noFill/>
          <a:ln w="9525">
            <a:noFill/>
            <a:miter lim="800000"/>
            <a:headEnd/>
            <a:tailEnd/>
          </a:ln>
        </p:spPr>
        <p:txBody>
          <a:bodyPr/>
          <a:lstStyle/>
          <a:p>
            <a:pPr marL="0" marR="0" lvl="0" indent="0" defTabSz="914400" latinLnBrk="0">
              <a:buClrTx/>
              <a:buSzTx/>
              <a:buFontTx/>
              <a:buNone/>
              <a:tabLst/>
              <a:defRPr/>
            </a:pPr>
            <a:r>
              <a:rPr lang="en-US" dirty="0" smtClean="0">
                <a:solidFill>
                  <a:schemeClr val="bg1"/>
                </a:solidFill>
              </a:rPr>
              <a:t>Business Objective</a:t>
            </a:r>
            <a:endParaRPr lang="en-US" dirty="0">
              <a:solidFill>
                <a:schemeClr val="bg1"/>
              </a:solidFill>
            </a:endParaRPr>
          </a:p>
        </p:txBody>
      </p:sp>
      <p:grpSp>
        <p:nvGrpSpPr>
          <p:cNvPr id="145" name="Group 144"/>
          <p:cNvGrpSpPr/>
          <p:nvPr/>
        </p:nvGrpSpPr>
        <p:grpSpPr>
          <a:xfrm>
            <a:off x="469434" y="855526"/>
            <a:ext cx="7853732" cy="5383524"/>
            <a:chOff x="1023362" y="1368651"/>
            <a:chExt cx="6786745" cy="4351768"/>
          </a:xfrm>
        </p:grpSpPr>
        <p:grpSp>
          <p:nvGrpSpPr>
            <p:cNvPr id="75" name="Group 74"/>
            <p:cNvGrpSpPr/>
            <p:nvPr/>
          </p:nvGrpSpPr>
          <p:grpSpPr>
            <a:xfrm>
              <a:off x="2841819" y="2210662"/>
              <a:ext cx="3188397" cy="2581404"/>
              <a:chOff x="2677980" y="1831618"/>
              <a:chExt cx="3552195" cy="3435577"/>
            </a:xfrm>
          </p:grpSpPr>
          <p:cxnSp>
            <p:nvCxnSpPr>
              <p:cNvPr id="76" name="Straight Connector 75"/>
              <p:cNvCxnSpPr/>
              <p:nvPr/>
            </p:nvCxnSpPr>
            <p:spPr>
              <a:xfrm>
                <a:off x="2677980" y="1831618"/>
                <a:ext cx="3399795" cy="3435577"/>
              </a:xfrm>
              <a:prstGeom prst="line">
                <a:avLst/>
              </a:prstGeom>
              <a:noFill/>
              <a:ln w="19050" cap="flat" cmpd="sng" algn="ctr">
                <a:solidFill>
                  <a:srgbClr val="444444"/>
                </a:solidFill>
                <a:prstDash val="dash"/>
              </a:ln>
              <a:effectLst/>
            </p:spPr>
          </p:cxnSp>
          <p:cxnSp>
            <p:nvCxnSpPr>
              <p:cNvPr id="77" name="Straight Connector 76"/>
              <p:cNvCxnSpPr/>
              <p:nvPr/>
            </p:nvCxnSpPr>
            <p:spPr>
              <a:xfrm flipH="1">
                <a:off x="2830380" y="1831618"/>
                <a:ext cx="3399795" cy="3435577"/>
              </a:xfrm>
              <a:prstGeom prst="line">
                <a:avLst/>
              </a:prstGeom>
              <a:noFill/>
              <a:ln w="19050" cap="flat" cmpd="sng" algn="ctr">
                <a:solidFill>
                  <a:srgbClr val="444444"/>
                </a:solidFill>
                <a:prstDash val="dash"/>
              </a:ln>
              <a:effectLst/>
            </p:spPr>
          </p:cxnSp>
        </p:grpSp>
        <p:grpSp>
          <p:nvGrpSpPr>
            <p:cNvPr id="78" name="Group 77"/>
            <p:cNvGrpSpPr/>
            <p:nvPr/>
          </p:nvGrpSpPr>
          <p:grpSpPr>
            <a:xfrm>
              <a:off x="2577961" y="2689080"/>
              <a:ext cx="3716112" cy="1731873"/>
              <a:chOff x="2388838" y="2508956"/>
              <a:chExt cx="4140123" cy="1929467"/>
            </a:xfrm>
            <a:effectLst>
              <a:outerShdw blurRad="50800" dist="38100" dir="5400000" algn="t" rotWithShape="0">
                <a:prstClr val="black">
                  <a:alpha val="40000"/>
                </a:prstClr>
              </a:outerShdw>
            </a:effectLst>
          </p:grpSpPr>
          <p:sp>
            <p:nvSpPr>
              <p:cNvPr id="79" name="Freeform 80"/>
              <p:cNvSpPr>
                <a:spLocks/>
              </p:cNvSpPr>
              <p:nvPr/>
            </p:nvSpPr>
            <p:spPr bwMode="auto">
              <a:xfrm>
                <a:off x="4250781" y="3831543"/>
                <a:ext cx="416238" cy="460719"/>
              </a:xfrm>
              <a:custGeom>
                <a:avLst/>
                <a:gdLst>
                  <a:gd name="T0" fmla="*/ 385 w 1732"/>
                  <a:gd name="T1" fmla="*/ 0 h 1930"/>
                  <a:gd name="T2" fmla="*/ 385 w 1732"/>
                  <a:gd name="T3" fmla="*/ 870 h 1930"/>
                  <a:gd name="T4" fmla="*/ 124 w 1732"/>
                  <a:gd name="T5" fmla="*/ 870 h 1930"/>
                  <a:gd name="T6" fmla="*/ 60 w 1732"/>
                  <a:gd name="T7" fmla="*/ 1003 h 1930"/>
                  <a:gd name="T8" fmla="*/ 757 w 1732"/>
                  <a:gd name="T9" fmla="*/ 1856 h 1930"/>
                  <a:gd name="T10" fmla="*/ 975 w 1732"/>
                  <a:gd name="T11" fmla="*/ 1856 h 1930"/>
                  <a:gd name="T12" fmla="*/ 1672 w 1732"/>
                  <a:gd name="T13" fmla="*/ 1003 h 1930"/>
                  <a:gd name="T14" fmla="*/ 1609 w 1732"/>
                  <a:gd name="T15" fmla="*/ 870 h 1930"/>
                  <a:gd name="T16" fmla="*/ 1357 w 1732"/>
                  <a:gd name="T17" fmla="*/ 870 h 1930"/>
                  <a:gd name="T18" fmla="*/ 1357 w 1732"/>
                  <a:gd name="T19" fmla="*/ 0 h 1930"/>
                  <a:gd name="T20" fmla="*/ 385 w 1732"/>
                  <a:gd name="T21" fmla="*/ 0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2" h="1930">
                    <a:moveTo>
                      <a:pt x="385" y="0"/>
                    </a:moveTo>
                    <a:lnTo>
                      <a:pt x="385" y="870"/>
                    </a:lnTo>
                    <a:lnTo>
                      <a:pt x="124" y="870"/>
                    </a:lnTo>
                    <a:cubicBezTo>
                      <a:pt x="29" y="870"/>
                      <a:pt x="0" y="930"/>
                      <a:pt x="60" y="1003"/>
                    </a:cubicBezTo>
                    <a:lnTo>
                      <a:pt x="757" y="1856"/>
                    </a:lnTo>
                    <a:cubicBezTo>
                      <a:pt x="818" y="1930"/>
                      <a:pt x="915" y="1930"/>
                      <a:pt x="975" y="1856"/>
                    </a:cubicBezTo>
                    <a:lnTo>
                      <a:pt x="1672" y="1003"/>
                    </a:lnTo>
                    <a:cubicBezTo>
                      <a:pt x="1732" y="930"/>
                      <a:pt x="1704" y="870"/>
                      <a:pt x="1609" y="870"/>
                    </a:cubicBezTo>
                    <a:lnTo>
                      <a:pt x="1357" y="870"/>
                    </a:lnTo>
                    <a:lnTo>
                      <a:pt x="1357" y="0"/>
                    </a:lnTo>
                    <a:lnTo>
                      <a:pt x="385"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0" name="Freeform 81"/>
              <p:cNvSpPr>
                <a:spLocks noEditPoints="1"/>
              </p:cNvSpPr>
              <p:nvPr/>
            </p:nvSpPr>
            <p:spPr bwMode="auto">
              <a:xfrm>
                <a:off x="4085557" y="3831543"/>
                <a:ext cx="746684" cy="606880"/>
              </a:xfrm>
              <a:custGeom>
                <a:avLst/>
                <a:gdLst>
                  <a:gd name="T0" fmla="*/ 620 w 3112"/>
                  <a:gd name="T1" fmla="*/ 196 h 2536"/>
                  <a:gd name="T2" fmla="*/ 275 w 3112"/>
                  <a:gd name="T3" fmla="*/ 528 h 2536"/>
                  <a:gd name="T4" fmla="*/ 25 w 3112"/>
                  <a:gd name="T5" fmla="*/ 656 h 2536"/>
                  <a:gd name="T6" fmla="*/ 14 w 3112"/>
                  <a:gd name="T7" fmla="*/ 798 h 2536"/>
                  <a:gd name="T8" fmla="*/ 1287 w 3112"/>
                  <a:gd name="T9" fmla="*/ 2402 h 2536"/>
                  <a:gd name="T10" fmla="*/ 1342 w 3112"/>
                  <a:gd name="T11" fmla="*/ 2458 h 2536"/>
                  <a:gd name="T12" fmla="*/ 1556 w 3112"/>
                  <a:gd name="T13" fmla="*/ 2536 h 2536"/>
                  <a:gd name="T14" fmla="*/ 1771 w 3112"/>
                  <a:gd name="T15" fmla="*/ 2458 h 2536"/>
                  <a:gd name="T16" fmla="*/ 3028 w 3112"/>
                  <a:gd name="T17" fmla="*/ 930 h 2536"/>
                  <a:gd name="T18" fmla="*/ 3099 w 3112"/>
                  <a:gd name="T19" fmla="*/ 798 h 2536"/>
                  <a:gd name="T20" fmla="*/ 3088 w 3112"/>
                  <a:gd name="T21" fmla="*/ 656 h 2536"/>
                  <a:gd name="T22" fmla="*/ 2838 w 3112"/>
                  <a:gd name="T23" fmla="*/ 528 h 2536"/>
                  <a:gd name="T24" fmla="*/ 2509 w 3112"/>
                  <a:gd name="T25" fmla="*/ 177 h 2536"/>
                  <a:gd name="T26" fmla="*/ 2297 w 3112"/>
                  <a:gd name="T27" fmla="*/ 634 h 2536"/>
                  <a:gd name="T28" fmla="*/ 2403 w 3112"/>
                  <a:gd name="T29" fmla="*/ 740 h 2536"/>
                  <a:gd name="T30" fmla="*/ 2894 w 3112"/>
                  <a:gd name="T31" fmla="*/ 748 h 2536"/>
                  <a:gd name="T32" fmla="*/ 2865 w 3112"/>
                  <a:gd name="T33" fmla="*/ 797 h 2536"/>
                  <a:gd name="T34" fmla="*/ 1637 w 3112"/>
                  <a:gd name="T35" fmla="*/ 2294 h 2536"/>
                  <a:gd name="T36" fmla="*/ 1556 w 3112"/>
                  <a:gd name="T37" fmla="*/ 2325 h 2536"/>
                  <a:gd name="T38" fmla="*/ 1476 w 3112"/>
                  <a:gd name="T39" fmla="*/ 2294 h 2536"/>
                  <a:gd name="T40" fmla="*/ 1450 w 3112"/>
                  <a:gd name="T41" fmla="*/ 2268 h 2536"/>
                  <a:gd name="T42" fmla="*/ 218 w 3112"/>
                  <a:gd name="T43" fmla="*/ 748 h 2536"/>
                  <a:gd name="T44" fmla="*/ 726 w 3112"/>
                  <a:gd name="T45" fmla="*/ 740 h 2536"/>
                  <a:gd name="T46" fmla="*/ 832 w 3112"/>
                  <a:gd name="T47" fmla="*/ 634 h 2536"/>
                  <a:gd name="T48" fmla="*/ 620 w 3112"/>
                  <a:gd name="T49" fmla="*/ 0 h 2536"/>
                  <a:gd name="T50" fmla="*/ 216 w 3112"/>
                  <a:gd name="T51" fmla="*/ 747 h 2536"/>
                  <a:gd name="T52" fmla="*/ 216 w 3112"/>
                  <a:gd name="T53" fmla="*/ 747 h 2536"/>
                  <a:gd name="T54" fmla="*/ 216 w 3112"/>
                  <a:gd name="T55" fmla="*/ 746 h 2536"/>
                  <a:gd name="T56" fmla="*/ 216 w 3112"/>
                  <a:gd name="T57" fmla="*/ 747 h 2536"/>
                  <a:gd name="T58" fmla="*/ 2897 w 3112"/>
                  <a:gd name="T59" fmla="*/ 746 h 2536"/>
                  <a:gd name="T60" fmla="*/ 2897 w 3112"/>
                  <a:gd name="T61" fmla="*/ 747 h 2536"/>
                  <a:gd name="T62" fmla="*/ 2897 w 3112"/>
                  <a:gd name="T63" fmla="*/ 746 h 2536"/>
                  <a:gd name="T64" fmla="*/ 2897 w 3112"/>
                  <a:gd name="T65" fmla="*/ 747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12" h="2536">
                    <a:moveTo>
                      <a:pt x="620" y="0"/>
                    </a:moveTo>
                    <a:lnTo>
                      <a:pt x="620" y="196"/>
                    </a:lnTo>
                    <a:lnTo>
                      <a:pt x="621" y="528"/>
                    </a:lnTo>
                    <a:lnTo>
                      <a:pt x="275" y="528"/>
                    </a:lnTo>
                    <a:cubicBezTo>
                      <a:pt x="218" y="528"/>
                      <a:pt x="168" y="538"/>
                      <a:pt x="128" y="557"/>
                    </a:cubicBezTo>
                    <a:cubicBezTo>
                      <a:pt x="80" y="579"/>
                      <a:pt x="45" y="613"/>
                      <a:pt x="25" y="656"/>
                    </a:cubicBezTo>
                    <a:cubicBezTo>
                      <a:pt x="5" y="699"/>
                      <a:pt x="0" y="747"/>
                      <a:pt x="14" y="798"/>
                    </a:cubicBezTo>
                    <a:lnTo>
                      <a:pt x="14" y="798"/>
                    </a:lnTo>
                    <a:cubicBezTo>
                      <a:pt x="25" y="841"/>
                      <a:pt x="48" y="886"/>
                      <a:pt x="84" y="930"/>
                    </a:cubicBezTo>
                    <a:lnTo>
                      <a:pt x="1287" y="2402"/>
                    </a:lnTo>
                    <a:lnTo>
                      <a:pt x="1287" y="2402"/>
                    </a:lnTo>
                    <a:cubicBezTo>
                      <a:pt x="1304" y="2423"/>
                      <a:pt x="1322" y="2442"/>
                      <a:pt x="1342" y="2458"/>
                    </a:cubicBezTo>
                    <a:cubicBezTo>
                      <a:pt x="1406" y="2510"/>
                      <a:pt x="1481" y="2536"/>
                      <a:pt x="1556" y="2536"/>
                    </a:cubicBezTo>
                    <a:lnTo>
                      <a:pt x="1556" y="2536"/>
                    </a:lnTo>
                    <a:cubicBezTo>
                      <a:pt x="1632" y="2536"/>
                      <a:pt x="1707" y="2510"/>
                      <a:pt x="1770" y="2458"/>
                    </a:cubicBezTo>
                    <a:lnTo>
                      <a:pt x="1771" y="2458"/>
                    </a:lnTo>
                    <a:cubicBezTo>
                      <a:pt x="1790" y="2442"/>
                      <a:pt x="1808" y="2424"/>
                      <a:pt x="1826" y="2402"/>
                    </a:cubicBezTo>
                    <a:lnTo>
                      <a:pt x="3028" y="930"/>
                    </a:lnTo>
                    <a:lnTo>
                      <a:pt x="3028" y="931"/>
                    </a:lnTo>
                    <a:cubicBezTo>
                      <a:pt x="3065" y="886"/>
                      <a:pt x="3089" y="841"/>
                      <a:pt x="3099" y="798"/>
                    </a:cubicBezTo>
                    <a:lnTo>
                      <a:pt x="3099" y="798"/>
                    </a:lnTo>
                    <a:cubicBezTo>
                      <a:pt x="3112" y="747"/>
                      <a:pt x="3108" y="699"/>
                      <a:pt x="3088" y="656"/>
                    </a:cubicBezTo>
                    <a:cubicBezTo>
                      <a:pt x="3068" y="613"/>
                      <a:pt x="3033" y="579"/>
                      <a:pt x="2985" y="557"/>
                    </a:cubicBezTo>
                    <a:cubicBezTo>
                      <a:pt x="2945" y="538"/>
                      <a:pt x="2895" y="528"/>
                      <a:pt x="2838" y="528"/>
                    </a:cubicBezTo>
                    <a:lnTo>
                      <a:pt x="2509" y="528"/>
                    </a:lnTo>
                    <a:lnTo>
                      <a:pt x="2509" y="177"/>
                    </a:lnTo>
                    <a:lnTo>
                      <a:pt x="2297" y="177"/>
                    </a:lnTo>
                    <a:lnTo>
                      <a:pt x="2297" y="634"/>
                    </a:lnTo>
                    <a:lnTo>
                      <a:pt x="2297" y="740"/>
                    </a:lnTo>
                    <a:lnTo>
                      <a:pt x="2403" y="740"/>
                    </a:lnTo>
                    <a:lnTo>
                      <a:pt x="2838" y="740"/>
                    </a:lnTo>
                    <a:cubicBezTo>
                      <a:pt x="2863" y="740"/>
                      <a:pt x="2882" y="742"/>
                      <a:pt x="2894" y="748"/>
                    </a:cubicBezTo>
                    <a:cubicBezTo>
                      <a:pt x="2890" y="761"/>
                      <a:pt x="2881" y="777"/>
                      <a:pt x="2865" y="797"/>
                    </a:cubicBezTo>
                    <a:lnTo>
                      <a:pt x="2865" y="797"/>
                    </a:lnTo>
                    <a:lnTo>
                      <a:pt x="1663" y="2269"/>
                    </a:lnTo>
                    <a:cubicBezTo>
                      <a:pt x="1655" y="2278"/>
                      <a:pt x="1646" y="2286"/>
                      <a:pt x="1637" y="2294"/>
                    </a:cubicBezTo>
                    <a:lnTo>
                      <a:pt x="1637" y="2294"/>
                    </a:lnTo>
                    <a:cubicBezTo>
                      <a:pt x="1612" y="2315"/>
                      <a:pt x="1584" y="2325"/>
                      <a:pt x="1556" y="2325"/>
                    </a:cubicBezTo>
                    <a:lnTo>
                      <a:pt x="1556" y="2325"/>
                    </a:lnTo>
                    <a:cubicBezTo>
                      <a:pt x="1529" y="2325"/>
                      <a:pt x="1501" y="2314"/>
                      <a:pt x="1476" y="2294"/>
                    </a:cubicBezTo>
                    <a:cubicBezTo>
                      <a:pt x="1467" y="2287"/>
                      <a:pt x="1459" y="2278"/>
                      <a:pt x="1450" y="2268"/>
                    </a:cubicBezTo>
                    <a:lnTo>
                      <a:pt x="1450" y="2268"/>
                    </a:lnTo>
                    <a:lnTo>
                      <a:pt x="248" y="797"/>
                    </a:lnTo>
                    <a:cubicBezTo>
                      <a:pt x="232" y="777"/>
                      <a:pt x="222" y="761"/>
                      <a:pt x="218" y="748"/>
                    </a:cubicBezTo>
                    <a:cubicBezTo>
                      <a:pt x="231" y="743"/>
                      <a:pt x="250" y="740"/>
                      <a:pt x="275" y="740"/>
                    </a:cubicBezTo>
                    <a:lnTo>
                      <a:pt x="726" y="740"/>
                    </a:lnTo>
                    <a:lnTo>
                      <a:pt x="832" y="740"/>
                    </a:lnTo>
                    <a:lnTo>
                      <a:pt x="832" y="634"/>
                    </a:lnTo>
                    <a:lnTo>
                      <a:pt x="831" y="0"/>
                    </a:lnTo>
                    <a:lnTo>
                      <a:pt x="620" y="0"/>
                    </a:lnTo>
                    <a:close/>
                    <a:moveTo>
                      <a:pt x="216" y="746"/>
                    </a:moveTo>
                    <a:lnTo>
                      <a:pt x="216" y="747"/>
                    </a:lnTo>
                    <a:lnTo>
                      <a:pt x="216" y="747"/>
                    </a:lnTo>
                    <a:lnTo>
                      <a:pt x="216" y="747"/>
                    </a:lnTo>
                    <a:lnTo>
                      <a:pt x="216" y="746"/>
                    </a:lnTo>
                    <a:close/>
                    <a:moveTo>
                      <a:pt x="216" y="746"/>
                    </a:moveTo>
                    <a:cubicBezTo>
                      <a:pt x="216" y="745"/>
                      <a:pt x="216" y="746"/>
                      <a:pt x="216" y="746"/>
                    </a:cubicBezTo>
                    <a:lnTo>
                      <a:pt x="216" y="747"/>
                    </a:lnTo>
                    <a:lnTo>
                      <a:pt x="216" y="746"/>
                    </a:lnTo>
                    <a:close/>
                    <a:moveTo>
                      <a:pt x="2897" y="746"/>
                    </a:moveTo>
                    <a:lnTo>
                      <a:pt x="2897" y="746"/>
                    </a:lnTo>
                    <a:lnTo>
                      <a:pt x="2897" y="747"/>
                    </a:lnTo>
                    <a:lnTo>
                      <a:pt x="2897" y="746"/>
                    </a:lnTo>
                    <a:cubicBezTo>
                      <a:pt x="2897" y="746"/>
                      <a:pt x="2897" y="745"/>
                      <a:pt x="2897" y="746"/>
                    </a:cubicBezTo>
                    <a:close/>
                    <a:moveTo>
                      <a:pt x="2897" y="746"/>
                    </a:moveTo>
                    <a:cubicBezTo>
                      <a:pt x="2897" y="747"/>
                      <a:pt x="2897" y="747"/>
                      <a:pt x="2897" y="747"/>
                    </a:cubicBezTo>
                    <a:lnTo>
                      <a:pt x="2897" y="746"/>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1" name="Freeform 82"/>
              <p:cNvSpPr>
                <a:spLocks/>
              </p:cNvSpPr>
              <p:nvPr/>
            </p:nvSpPr>
            <p:spPr bwMode="auto">
              <a:xfrm>
                <a:off x="2973475" y="3058577"/>
                <a:ext cx="2970847" cy="814985"/>
              </a:xfrm>
              <a:custGeom>
                <a:avLst/>
                <a:gdLst>
                  <a:gd name="T0" fmla="*/ 231 w 12376"/>
                  <a:gd name="T1" fmla="*/ 0 h 6033"/>
                  <a:gd name="T2" fmla="*/ 12146 w 12376"/>
                  <a:gd name="T3" fmla="*/ 0 h 6033"/>
                  <a:gd name="T4" fmla="*/ 12376 w 12376"/>
                  <a:gd name="T5" fmla="*/ 231 h 6033"/>
                  <a:gd name="T6" fmla="*/ 12376 w 12376"/>
                  <a:gd name="T7" fmla="*/ 5803 h 6033"/>
                  <a:gd name="T8" fmla="*/ 12146 w 12376"/>
                  <a:gd name="T9" fmla="*/ 6033 h 6033"/>
                  <a:gd name="T10" fmla="*/ 231 w 12376"/>
                  <a:gd name="T11" fmla="*/ 6033 h 6033"/>
                  <a:gd name="T12" fmla="*/ 0 w 12376"/>
                  <a:gd name="T13" fmla="*/ 5803 h 6033"/>
                  <a:gd name="T14" fmla="*/ 0 w 12376"/>
                  <a:gd name="T15" fmla="*/ 231 h 6033"/>
                  <a:gd name="T16" fmla="*/ 231 w 12376"/>
                  <a:gd name="T17" fmla="*/ 0 h 6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6" h="6033">
                    <a:moveTo>
                      <a:pt x="231" y="0"/>
                    </a:moveTo>
                    <a:lnTo>
                      <a:pt x="12146" y="0"/>
                    </a:lnTo>
                    <a:cubicBezTo>
                      <a:pt x="12273" y="0"/>
                      <a:pt x="12376" y="104"/>
                      <a:pt x="12376" y="231"/>
                    </a:cubicBezTo>
                    <a:lnTo>
                      <a:pt x="12376" y="5803"/>
                    </a:lnTo>
                    <a:cubicBezTo>
                      <a:pt x="12376" y="5930"/>
                      <a:pt x="12273" y="6033"/>
                      <a:pt x="12146" y="6033"/>
                    </a:cubicBezTo>
                    <a:lnTo>
                      <a:pt x="231" y="6033"/>
                    </a:lnTo>
                    <a:cubicBezTo>
                      <a:pt x="104" y="6033"/>
                      <a:pt x="0" y="5930"/>
                      <a:pt x="0" y="5803"/>
                    </a:cubicBezTo>
                    <a:lnTo>
                      <a:pt x="0" y="231"/>
                    </a:lnTo>
                    <a:cubicBezTo>
                      <a:pt x="0" y="104"/>
                      <a:pt x="104" y="0"/>
                      <a:pt x="231" y="0"/>
                    </a:cubicBez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FFFFFF"/>
                    </a:solidFill>
                    <a:effectLst/>
                    <a:uLnTx/>
                    <a:uFillTx/>
                    <a:latin typeface="Museo Sans For Dell"/>
                  </a:rPr>
                  <a:t>Get to Market</a:t>
                </a:r>
                <a:r>
                  <a:rPr kumimoji="0" lang="en-US" b="0" i="0" u="none" strike="noStrike" kern="0" cap="none" spc="0" normalizeH="0" noProof="0" dirty="0" smtClean="0">
                    <a:ln>
                      <a:noFill/>
                    </a:ln>
                    <a:solidFill>
                      <a:srgbClr val="FFFFFF"/>
                    </a:solidFill>
                    <a:effectLst/>
                    <a:uLnTx/>
                    <a:uFillTx/>
                    <a:latin typeface="Museo Sans For Dell"/>
                  </a:rPr>
                  <a:t> Quicker</a:t>
                </a:r>
                <a:endParaRPr kumimoji="0" lang="en-US" b="0" i="0" u="none" strike="noStrike" kern="0" cap="none" spc="0" normalizeH="0" baseline="0" noProof="0" dirty="0" smtClean="0">
                  <a:ln>
                    <a:noFill/>
                  </a:ln>
                  <a:solidFill>
                    <a:srgbClr val="FFFFFF"/>
                  </a:solidFill>
                  <a:effectLst/>
                  <a:uLnTx/>
                  <a:uFillTx/>
                  <a:latin typeface="Museo Sans For Dell"/>
                </a:endParaRPr>
              </a:p>
            </p:txBody>
          </p:sp>
          <p:sp>
            <p:nvSpPr>
              <p:cNvPr id="82" name="Freeform 83"/>
              <p:cNvSpPr>
                <a:spLocks/>
              </p:cNvSpPr>
              <p:nvPr/>
            </p:nvSpPr>
            <p:spPr bwMode="auto">
              <a:xfrm>
                <a:off x="5918904" y="3233734"/>
                <a:ext cx="463897" cy="416238"/>
              </a:xfrm>
              <a:custGeom>
                <a:avLst/>
                <a:gdLst>
                  <a:gd name="T0" fmla="*/ 0 w 1929"/>
                  <a:gd name="T1" fmla="*/ 385 h 1732"/>
                  <a:gd name="T2" fmla="*/ 870 w 1929"/>
                  <a:gd name="T3" fmla="*/ 385 h 1732"/>
                  <a:gd name="T4" fmla="*/ 870 w 1929"/>
                  <a:gd name="T5" fmla="*/ 123 h 1732"/>
                  <a:gd name="T6" fmla="*/ 1003 w 1929"/>
                  <a:gd name="T7" fmla="*/ 60 h 1732"/>
                  <a:gd name="T8" fmla="*/ 1856 w 1929"/>
                  <a:gd name="T9" fmla="*/ 757 h 1732"/>
                  <a:gd name="T10" fmla="*/ 1856 w 1929"/>
                  <a:gd name="T11" fmla="*/ 975 h 1732"/>
                  <a:gd name="T12" fmla="*/ 1003 w 1929"/>
                  <a:gd name="T13" fmla="*/ 1672 h 1732"/>
                  <a:gd name="T14" fmla="*/ 870 w 1929"/>
                  <a:gd name="T15" fmla="*/ 1609 h 1732"/>
                  <a:gd name="T16" fmla="*/ 870 w 1929"/>
                  <a:gd name="T17" fmla="*/ 1357 h 1732"/>
                  <a:gd name="T18" fmla="*/ 0 w 1929"/>
                  <a:gd name="T19" fmla="*/ 1357 h 1732"/>
                  <a:gd name="T20" fmla="*/ 0 w 1929"/>
                  <a:gd name="T21" fmla="*/ 385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9" h="1732">
                    <a:moveTo>
                      <a:pt x="0" y="385"/>
                    </a:moveTo>
                    <a:lnTo>
                      <a:pt x="870" y="385"/>
                    </a:lnTo>
                    <a:lnTo>
                      <a:pt x="870" y="123"/>
                    </a:lnTo>
                    <a:cubicBezTo>
                      <a:pt x="870" y="28"/>
                      <a:pt x="929" y="0"/>
                      <a:pt x="1003" y="60"/>
                    </a:cubicBezTo>
                    <a:lnTo>
                      <a:pt x="1856" y="757"/>
                    </a:lnTo>
                    <a:cubicBezTo>
                      <a:pt x="1929" y="817"/>
                      <a:pt x="1929" y="915"/>
                      <a:pt x="1856" y="975"/>
                    </a:cubicBezTo>
                    <a:lnTo>
                      <a:pt x="1003" y="1672"/>
                    </a:lnTo>
                    <a:cubicBezTo>
                      <a:pt x="929" y="1732"/>
                      <a:pt x="870" y="1704"/>
                      <a:pt x="870" y="1609"/>
                    </a:cubicBezTo>
                    <a:lnTo>
                      <a:pt x="870" y="1357"/>
                    </a:lnTo>
                    <a:lnTo>
                      <a:pt x="0" y="1357"/>
                    </a:lnTo>
                    <a:lnTo>
                      <a:pt x="0" y="385"/>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3" name="Freeform 84"/>
              <p:cNvSpPr>
                <a:spLocks noEditPoints="1"/>
              </p:cNvSpPr>
              <p:nvPr/>
            </p:nvSpPr>
            <p:spPr bwMode="auto">
              <a:xfrm>
                <a:off x="5918904" y="3068511"/>
                <a:ext cx="610057" cy="746684"/>
              </a:xfrm>
              <a:custGeom>
                <a:avLst/>
                <a:gdLst>
                  <a:gd name="T0" fmla="*/ 196 w 2536"/>
                  <a:gd name="T1" fmla="*/ 620 h 3112"/>
                  <a:gd name="T2" fmla="*/ 528 w 2536"/>
                  <a:gd name="T3" fmla="*/ 275 h 3112"/>
                  <a:gd name="T4" fmla="*/ 656 w 2536"/>
                  <a:gd name="T5" fmla="*/ 24 h 3112"/>
                  <a:gd name="T6" fmla="*/ 798 w 2536"/>
                  <a:gd name="T7" fmla="*/ 13 h 3112"/>
                  <a:gd name="T8" fmla="*/ 2401 w 2536"/>
                  <a:gd name="T9" fmla="*/ 1286 h 3112"/>
                  <a:gd name="T10" fmla="*/ 2457 w 2536"/>
                  <a:gd name="T11" fmla="*/ 1342 h 3112"/>
                  <a:gd name="T12" fmla="*/ 2535 w 2536"/>
                  <a:gd name="T13" fmla="*/ 1556 h 3112"/>
                  <a:gd name="T14" fmla="*/ 2457 w 2536"/>
                  <a:gd name="T15" fmla="*/ 1770 h 3112"/>
                  <a:gd name="T16" fmla="*/ 930 w 2536"/>
                  <a:gd name="T17" fmla="*/ 3028 h 3112"/>
                  <a:gd name="T18" fmla="*/ 798 w 2536"/>
                  <a:gd name="T19" fmla="*/ 3099 h 3112"/>
                  <a:gd name="T20" fmla="*/ 656 w 2536"/>
                  <a:gd name="T21" fmla="*/ 3087 h 3112"/>
                  <a:gd name="T22" fmla="*/ 528 w 2536"/>
                  <a:gd name="T23" fmla="*/ 2837 h 3112"/>
                  <a:gd name="T24" fmla="*/ 177 w 2536"/>
                  <a:gd name="T25" fmla="*/ 2508 h 3112"/>
                  <a:gd name="T26" fmla="*/ 633 w 2536"/>
                  <a:gd name="T27" fmla="*/ 2297 h 3112"/>
                  <a:gd name="T28" fmla="*/ 739 w 2536"/>
                  <a:gd name="T29" fmla="*/ 2402 h 3112"/>
                  <a:gd name="T30" fmla="*/ 747 w 2536"/>
                  <a:gd name="T31" fmla="*/ 2894 h 3112"/>
                  <a:gd name="T32" fmla="*/ 797 w 2536"/>
                  <a:gd name="T33" fmla="*/ 2864 h 3112"/>
                  <a:gd name="T34" fmla="*/ 2294 w 2536"/>
                  <a:gd name="T35" fmla="*/ 1636 h 3112"/>
                  <a:gd name="T36" fmla="*/ 2325 w 2536"/>
                  <a:gd name="T37" fmla="*/ 1556 h 3112"/>
                  <a:gd name="T38" fmla="*/ 2294 w 2536"/>
                  <a:gd name="T39" fmla="*/ 1475 h 3112"/>
                  <a:gd name="T40" fmla="*/ 2268 w 2536"/>
                  <a:gd name="T41" fmla="*/ 1450 h 3112"/>
                  <a:gd name="T42" fmla="*/ 747 w 2536"/>
                  <a:gd name="T43" fmla="*/ 218 h 3112"/>
                  <a:gd name="T44" fmla="*/ 739 w 2536"/>
                  <a:gd name="T45" fmla="*/ 726 h 3112"/>
                  <a:gd name="T46" fmla="*/ 633 w 2536"/>
                  <a:gd name="T47" fmla="*/ 831 h 3112"/>
                  <a:gd name="T48" fmla="*/ 0 w 2536"/>
                  <a:gd name="T49" fmla="*/ 620 h 3112"/>
                  <a:gd name="T50" fmla="*/ 746 w 2536"/>
                  <a:gd name="T51" fmla="*/ 215 h 3112"/>
                  <a:gd name="T52" fmla="*/ 746 w 2536"/>
                  <a:gd name="T53" fmla="*/ 215 h 3112"/>
                  <a:gd name="T54" fmla="*/ 746 w 2536"/>
                  <a:gd name="T55" fmla="*/ 216 h 3112"/>
                  <a:gd name="T56" fmla="*/ 746 w 2536"/>
                  <a:gd name="T57" fmla="*/ 215 h 3112"/>
                  <a:gd name="T58" fmla="*/ 746 w 2536"/>
                  <a:gd name="T59" fmla="*/ 2897 h 3112"/>
                  <a:gd name="T60" fmla="*/ 746 w 2536"/>
                  <a:gd name="T61" fmla="*/ 2896 h 3112"/>
                  <a:gd name="T62" fmla="*/ 746 w 2536"/>
                  <a:gd name="T63" fmla="*/ 2897 h 3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36" h="3112">
                    <a:moveTo>
                      <a:pt x="0" y="620"/>
                    </a:moveTo>
                    <a:lnTo>
                      <a:pt x="196" y="620"/>
                    </a:lnTo>
                    <a:lnTo>
                      <a:pt x="528" y="620"/>
                    </a:lnTo>
                    <a:lnTo>
                      <a:pt x="528" y="275"/>
                    </a:lnTo>
                    <a:cubicBezTo>
                      <a:pt x="528" y="217"/>
                      <a:pt x="538" y="168"/>
                      <a:pt x="557" y="128"/>
                    </a:cubicBezTo>
                    <a:cubicBezTo>
                      <a:pt x="579" y="80"/>
                      <a:pt x="613" y="45"/>
                      <a:pt x="656" y="24"/>
                    </a:cubicBezTo>
                    <a:cubicBezTo>
                      <a:pt x="699" y="4"/>
                      <a:pt x="747" y="0"/>
                      <a:pt x="798" y="13"/>
                    </a:cubicBezTo>
                    <a:lnTo>
                      <a:pt x="798" y="13"/>
                    </a:lnTo>
                    <a:cubicBezTo>
                      <a:pt x="841" y="24"/>
                      <a:pt x="885" y="48"/>
                      <a:pt x="930" y="84"/>
                    </a:cubicBezTo>
                    <a:lnTo>
                      <a:pt x="2401" y="1286"/>
                    </a:lnTo>
                    <a:lnTo>
                      <a:pt x="2402" y="1286"/>
                    </a:lnTo>
                    <a:cubicBezTo>
                      <a:pt x="2423" y="1303"/>
                      <a:pt x="2441" y="1322"/>
                      <a:pt x="2457" y="1342"/>
                    </a:cubicBezTo>
                    <a:cubicBezTo>
                      <a:pt x="2510" y="1406"/>
                      <a:pt x="2536" y="1480"/>
                      <a:pt x="2536" y="1556"/>
                    </a:cubicBezTo>
                    <a:lnTo>
                      <a:pt x="2535" y="1556"/>
                    </a:lnTo>
                    <a:cubicBezTo>
                      <a:pt x="2535" y="1631"/>
                      <a:pt x="2509" y="1706"/>
                      <a:pt x="2457" y="1770"/>
                    </a:cubicBezTo>
                    <a:lnTo>
                      <a:pt x="2457" y="1770"/>
                    </a:lnTo>
                    <a:cubicBezTo>
                      <a:pt x="2442" y="1789"/>
                      <a:pt x="2423" y="1808"/>
                      <a:pt x="2401" y="1826"/>
                    </a:cubicBezTo>
                    <a:lnTo>
                      <a:pt x="930" y="3028"/>
                    </a:lnTo>
                    <a:lnTo>
                      <a:pt x="930" y="3028"/>
                    </a:lnTo>
                    <a:cubicBezTo>
                      <a:pt x="886" y="3065"/>
                      <a:pt x="841" y="3088"/>
                      <a:pt x="798" y="3099"/>
                    </a:cubicBezTo>
                    <a:lnTo>
                      <a:pt x="798" y="3099"/>
                    </a:lnTo>
                    <a:cubicBezTo>
                      <a:pt x="747" y="3112"/>
                      <a:pt x="698" y="3108"/>
                      <a:pt x="656" y="3087"/>
                    </a:cubicBezTo>
                    <a:cubicBezTo>
                      <a:pt x="613" y="3067"/>
                      <a:pt x="579" y="3032"/>
                      <a:pt x="557" y="2984"/>
                    </a:cubicBezTo>
                    <a:cubicBezTo>
                      <a:pt x="538" y="2944"/>
                      <a:pt x="528" y="2895"/>
                      <a:pt x="528" y="2837"/>
                    </a:cubicBezTo>
                    <a:lnTo>
                      <a:pt x="528" y="2508"/>
                    </a:lnTo>
                    <a:lnTo>
                      <a:pt x="177" y="2508"/>
                    </a:lnTo>
                    <a:lnTo>
                      <a:pt x="177" y="2297"/>
                    </a:lnTo>
                    <a:lnTo>
                      <a:pt x="633" y="2297"/>
                    </a:lnTo>
                    <a:lnTo>
                      <a:pt x="739" y="2297"/>
                    </a:lnTo>
                    <a:lnTo>
                      <a:pt x="739" y="2402"/>
                    </a:lnTo>
                    <a:lnTo>
                      <a:pt x="739" y="2837"/>
                    </a:lnTo>
                    <a:cubicBezTo>
                      <a:pt x="739" y="2862"/>
                      <a:pt x="742" y="2881"/>
                      <a:pt x="747" y="2894"/>
                    </a:cubicBezTo>
                    <a:cubicBezTo>
                      <a:pt x="760" y="2890"/>
                      <a:pt x="777" y="2880"/>
                      <a:pt x="796" y="2864"/>
                    </a:cubicBezTo>
                    <a:lnTo>
                      <a:pt x="797" y="2864"/>
                    </a:lnTo>
                    <a:lnTo>
                      <a:pt x="2268" y="1662"/>
                    </a:lnTo>
                    <a:cubicBezTo>
                      <a:pt x="2277" y="1655"/>
                      <a:pt x="2286" y="1646"/>
                      <a:pt x="2294" y="1636"/>
                    </a:cubicBezTo>
                    <a:lnTo>
                      <a:pt x="2294" y="1637"/>
                    </a:lnTo>
                    <a:cubicBezTo>
                      <a:pt x="2314" y="1611"/>
                      <a:pt x="2325" y="1583"/>
                      <a:pt x="2325" y="1556"/>
                    </a:cubicBezTo>
                    <a:lnTo>
                      <a:pt x="2324" y="1556"/>
                    </a:lnTo>
                    <a:cubicBezTo>
                      <a:pt x="2324" y="1528"/>
                      <a:pt x="2314" y="1500"/>
                      <a:pt x="2294" y="1475"/>
                    </a:cubicBezTo>
                    <a:cubicBezTo>
                      <a:pt x="2286" y="1467"/>
                      <a:pt x="2278" y="1458"/>
                      <a:pt x="2268" y="1450"/>
                    </a:cubicBezTo>
                    <a:lnTo>
                      <a:pt x="2268" y="1450"/>
                    </a:lnTo>
                    <a:lnTo>
                      <a:pt x="797" y="248"/>
                    </a:lnTo>
                    <a:cubicBezTo>
                      <a:pt x="777" y="231"/>
                      <a:pt x="760" y="222"/>
                      <a:pt x="747" y="218"/>
                    </a:cubicBezTo>
                    <a:cubicBezTo>
                      <a:pt x="742" y="230"/>
                      <a:pt x="739" y="249"/>
                      <a:pt x="739" y="275"/>
                    </a:cubicBezTo>
                    <a:lnTo>
                      <a:pt x="739" y="726"/>
                    </a:lnTo>
                    <a:lnTo>
                      <a:pt x="739" y="831"/>
                    </a:lnTo>
                    <a:lnTo>
                      <a:pt x="633" y="831"/>
                    </a:lnTo>
                    <a:lnTo>
                      <a:pt x="0" y="830"/>
                    </a:lnTo>
                    <a:lnTo>
                      <a:pt x="0" y="620"/>
                    </a:lnTo>
                    <a:close/>
                    <a:moveTo>
                      <a:pt x="746" y="215"/>
                    </a:moveTo>
                    <a:lnTo>
                      <a:pt x="746" y="215"/>
                    </a:lnTo>
                    <a:lnTo>
                      <a:pt x="746" y="215"/>
                    </a:lnTo>
                    <a:lnTo>
                      <a:pt x="746" y="215"/>
                    </a:lnTo>
                    <a:close/>
                    <a:moveTo>
                      <a:pt x="746" y="215"/>
                    </a:moveTo>
                    <a:cubicBezTo>
                      <a:pt x="745" y="216"/>
                      <a:pt x="745" y="216"/>
                      <a:pt x="746" y="216"/>
                    </a:cubicBezTo>
                    <a:lnTo>
                      <a:pt x="746" y="215"/>
                    </a:lnTo>
                    <a:lnTo>
                      <a:pt x="746" y="215"/>
                    </a:lnTo>
                    <a:close/>
                    <a:moveTo>
                      <a:pt x="746" y="2897"/>
                    </a:moveTo>
                    <a:lnTo>
                      <a:pt x="746" y="2897"/>
                    </a:lnTo>
                    <a:lnTo>
                      <a:pt x="746" y="2897"/>
                    </a:lnTo>
                    <a:lnTo>
                      <a:pt x="746" y="2896"/>
                    </a:lnTo>
                    <a:cubicBezTo>
                      <a:pt x="745" y="2896"/>
                      <a:pt x="745" y="2896"/>
                      <a:pt x="746" y="2897"/>
                    </a:cubicBezTo>
                    <a:close/>
                    <a:moveTo>
                      <a:pt x="746" y="2897"/>
                    </a:moveTo>
                    <a:cubicBezTo>
                      <a:pt x="746" y="2897"/>
                      <a:pt x="746" y="2897"/>
                      <a:pt x="746" y="2897"/>
                    </a:cubicBez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4" name="Freeform 85"/>
              <p:cNvSpPr>
                <a:spLocks/>
              </p:cNvSpPr>
              <p:nvPr/>
            </p:nvSpPr>
            <p:spPr bwMode="auto">
              <a:xfrm>
                <a:off x="2531821" y="3212510"/>
                <a:ext cx="463897" cy="416238"/>
              </a:xfrm>
              <a:custGeom>
                <a:avLst/>
                <a:gdLst>
                  <a:gd name="T0" fmla="*/ 1930 w 1930"/>
                  <a:gd name="T1" fmla="*/ 385 h 1732"/>
                  <a:gd name="T2" fmla="*/ 1060 w 1930"/>
                  <a:gd name="T3" fmla="*/ 385 h 1732"/>
                  <a:gd name="T4" fmla="*/ 1060 w 1930"/>
                  <a:gd name="T5" fmla="*/ 123 h 1732"/>
                  <a:gd name="T6" fmla="*/ 927 w 1930"/>
                  <a:gd name="T7" fmla="*/ 60 h 1732"/>
                  <a:gd name="T8" fmla="*/ 74 w 1930"/>
                  <a:gd name="T9" fmla="*/ 757 h 1732"/>
                  <a:gd name="T10" fmla="*/ 74 w 1930"/>
                  <a:gd name="T11" fmla="*/ 975 h 1732"/>
                  <a:gd name="T12" fmla="*/ 927 w 1930"/>
                  <a:gd name="T13" fmla="*/ 1672 h 1732"/>
                  <a:gd name="T14" fmla="*/ 1060 w 1930"/>
                  <a:gd name="T15" fmla="*/ 1609 h 1732"/>
                  <a:gd name="T16" fmla="*/ 1060 w 1930"/>
                  <a:gd name="T17" fmla="*/ 1357 h 1732"/>
                  <a:gd name="T18" fmla="*/ 1930 w 1930"/>
                  <a:gd name="T19" fmla="*/ 1357 h 1732"/>
                  <a:gd name="T20" fmla="*/ 1930 w 1930"/>
                  <a:gd name="T21" fmla="*/ 385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0" h="1732">
                    <a:moveTo>
                      <a:pt x="1930" y="385"/>
                    </a:moveTo>
                    <a:lnTo>
                      <a:pt x="1060" y="385"/>
                    </a:lnTo>
                    <a:lnTo>
                      <a:pt x="1060" y="123"/>
                    </a:lnTo>
                    <a:cubicBezTo>
                      <a:pt x="1060" y="28"/>
                      <a:pt x="1001" y="0"/>
                      <a:pt x="927" y="60"/>
                    </a:cubicBezTo>
                    <a:lnTo>
                      <a:pt x="74" y="757"/>
                    </a:lnTo>
                    <a:cubicBezTo>
                      <a:pt x="0" y="817"/>
                      <a:pt x="0" y="915"/>
                      <a:pt x="74" y="975"/>
                    </a:cubicBezTo>
                    <a:lnTo>
                      <a:pt x="927" y="1672"/>
                    </a:lnTo>
                    <a:cubicBezTo>
                      <a:pt x="1001" y="1732"/>
                      <a:pt x="1060" y="1704"/>
                      <a:pt x="1060" y="1609"/>
                    </a:cubicBezTo>
                    <a:lnTo>
                      <a:pt x="1060" y="1357"/>
                    </a:lnTo>
                    <a:lnTo>
                      <a:pt x="1930" y="1357"/>
                    </a:lnTo>
                    <a:lnTo>
                      <a:pt x="1930" y="385"/>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5" name="Freeform 86"/>
              <p:cNvSpPr>
                <a:spLocks noEditPoints="1"/>
              </p:cNvSpPr>
              <p:nvPr/>
            </p:nvSpPr>
            <p:spPr bwMode="auto">
              <a:xfrm>
                <a:off x="2388838" y="3047288"/>
                <a:ext cx="606880" cy="746684"/>
              </a:xfrm>
              <a:custGeom>
                <a:avLst/>
                <a:gdLst>
                  <a:gd name="T0" fmla="*/ 2340 w 2536"/>
                  <a:gd name="T1" fmla="*/ 620 h 3112"/>
                  <a:gd name="T2" fmla="*/ 2008 w 2536"/>
                  <a:gd name="T3" fmla="*/ 275 h 3112"/>
                  <a:gd name="T4" fmla="*/ 1880 w 2536"/>
                  <a:gd name="T5" fmla="*/ 24 h 3112"/>
                  <a:gd name="T6" fmla="*/ 1738 w 2536"/>
                  <a:gd name="T7" fmla="*/ 13 h 3112"/>
                  <a:gd name="T8" fmla="*/ 134 w 2536"/>
                  <a:gd name="T9" fmla="*/ 1286 h 3112"/>
                  <a:gd name="T10" fmla="*/ 78 w 2536"/>
                  <a:gd name="T11" fmla="*/ 1342 h 3112"/>
                  <a:gd name="T12" fmla="*/ 0 w 2536"/>
                  <a:gd name="T13" fmla="*/ 1556 h 3112"/>
                  <a:gd name="T14" fmla="*/ 78 w 2536"/>
                  <a:gd name="T15" fmla="*/ 1770 h 3112"/>
                  <a:gd name="T16" fmla="*/ 1606 w 2536"/>
                  <a:gd name="T17" fmla="*/ 3028 h 3112"/>
                  <a:gd name="T18" fmla="*/ 1738 w 2536"/>
                  <a:gd name="T19" fmla="*/ 3099 h 3112"/>
                  <a:gd name="T20" fmla="*/ 1880 w 2536"/>
                  <a:gd name="T21" fmla="*/ 3087 h 3112"/>
                  <a:gd name="T22" fmla="*/ 2008 w 2536"/>
                  <a:gd name="T23" fmla="*/ 2837 h 3112"/>
                  <a:gd name="T24" fmla="*/ 2359 w 2536"/>
                  <a:gd name="T25" fmla="*/ 2508 h 3112"/>
                  <a:gd name="T26" fmla="*/ 1902 w 2536"/>
                  <a:gd name="T27" fmla="*/ 2297 h 3112"/>
                  <a:gd name="T28" fmla="*/ 1796 w 2536"/>
                  <a:gd name="T29" fmla="*/ 2402 h 3112"/>
                  <a:gd name="T30" fmla="*/ 1788 w 2536"/>
                  <a:gd name="T31" fmla="*/ 2894 h 3112"/>
                  <a:gd name="T32" fmla="*/ 1739 w 2536"/>
                  <a:gd name="T33" fmla="*/ 2864 h 3112"/>
                  <a:gd name="T34" fmla="*/ 242 w 2536"/>
                  <a:gd name="T35" fmla="*/ 1636 h 3112"/>
                  <a:gd name="T36" fmla="*/ 211 w 2536"/>
                  <a:gd name="T37" fmla="*/ 1556 h 3112"/>
                  <a:gd name="T38" fmla="*/ 242 w 2536"/>
                  <a:gd name="T39" fmla="*/ 1475 h 3112"/>
                  <a:gd name="T40" fmla="*/ 268 w 2536"/>
                  <a:gd name="T41" fmla="*/ 1450 h 3112"/>
                  <a:gd name="T42" fmla="*/ 1788 w 2536"/>
                  <a:gd name="T43" fmla="*/ 218 h 3112"/>
                  <a:gd name="T44" fmla="*/ 1796 w 2536"/>
                  <a:gd name="T45" fmla="*/ 726 h 3112"/>
                  <a:gd name="T46" fmla="*/ 1902 w 2536"/>
                  <a:gd name="T47" fmla="*/ 831 h 3112"/>
                  <a:gd name="T48" fmla="*/ 2536 w 2536"/>
                  <a:gd name="T49" fmla="*/ 620 h 3112"/>
                  <a:gd name="T50" fmla="*/ 1789 w 2536"/>
                  <a:gd name="T51" fmla="*/ 215 h 3112"/>
                  <a:gd name="T52" fmla="*/ 1789 w 2536"/>
                  <a:gd name="T53" fmla="*/ 215 h 3112"/>
                  <a:gd name="T54" fmla="*/ 1790 w 2536"/>
                  <a:gd name="T55" fmla="*/ 215 h 3112"/>
                  <a:gd name="T56" fmla="*/ 1789 w 2536"/>
                  <a:gd name="T57" fmla="*/ 215 h 3112"/>
                  <a:gd name="T58" fmla="*/ 1790 w 2536"/>
                  <a:gd name="T59" fmla="*/ 2897 h 3112"/>
                  <a:gd name="T60" fmla="*/ 1789 w 2536"/>
                  <a:gd name="T61" fmla="*/ 2897 h 3112"/>
                  <a:gd name="T62" fmla="*/ 1790 w 2536"/>
                  <a:gd name="T63" fmla="*/ 2897 h 3112"/>
                  <a:gd name="T64" fmla="*/ 1789 w 2536"/>
                  <a:gd name="T65" fmla="*/ 2897 h 3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36" h="3112">
                    <a:moveTo>
                      <a:pt x="2536" y="620"/>
                    </a:moveTo>
                    <a:lnTo>
                      <a:pt x="2340" y="620"/>
                    </a:lnTo>
                    <a:lnTo>
                      <a:pt x="2008" y="620"/>
                    </a:lnTo>
                    <a:lnTo>
                      <a:pt x="2008" y="275"/>
                    </a:lnTo>
                    <a:cubicBezTo>
                      <a:pt x="2008" y="217"/>
                      <a:pt x="1998" y="168"/>
                      <a:pt x="1979" y="128"/>
                    </a:cubicBezTo>
                    <a:cubicBezTo>
                      <a:pt x="1957" y="80"/>
                      <a:pt x="1923" y="45"/>
                      <a:pt x="1880" y="24"/>
                    </a:cubicBezTo>
                    <a:cubicBezTo>
                      <a:pt x="1837" y="4"/>
                      <a:pt x="1789" y="0"/>
                      <a:pt x="1738" y="13"/>
                    </a:cubicBezTo>
                    <a:lnTo>
                      <a:pt x="1738" y="13"/>
                    </a:lnTo>
                    <a:cubicBezTo>
                      <a:pt x="1695" y="24"/>
                      <a:pt x="1650" y="48"/>
                      <a:pt x="1606" y="84"/>
                    </a:cubicBezTo>
                    <a:lnTo>
                      <a:pt x="134" y="1286"/>
                    </a:lnTo>
                    <a:lnTo>
                      <a:pt x="134" y="1286"/>
                    </a:lnTo>
                    <a:cubicBezTo>
                      <a:pt x="113" y="1303"/>
                      <a:pt x="94" y="1322"/>
                      <a:pt x="78" y="1342"/>
                    </a:cubicBezTo>
                    <a:cubicBezTo>
                      <a:pt x="26" y="1406"/>
                      <a:pt x="0" y="1480"/>
                      <a:pt x="0" y="1556"/>
                    </a:cubicBezTo>
                    <a:lnTo>
                      <a:pt x="0" y="1556"/>
                    </a:lnTo>
                    <a:cubicBezTo>
                      <a:pt x="0" y="1631"/>
                      <a:pt x="26" y="1706"/>
                      <a:pt x="78" y="1770"/>
                    </a:cubicBezTo>
                    <a:lnTo>
                      <a:pt x="78" y="1770"/>
                    </a:lnTo>
                    <a:cubicBezTo>
                      <a:pt x="94" y="1789"/>
                      <a:pt x="112" y="1808"/>
                      <a:pt x="134" y="1826"/>
                    </a:cubicBezTo>
                    <a:lnTo>
                      <a:pt x="1606" y="3028"/>
                    </a:lnTo>
                    <a:lnTo>
                      <a:pt x="1605" y="3028"/>
                    </a:lnTo>
                    <a:cubicBezTo>
                      <a:pt x="1650" y="3065"/>
                      <a:pt x="1695" y="3088"/>
                      <a:pt x="1738" y="3099"/>
                    </a:cubicBezTo>
                    <a:lnTo>
                      <a:pt x="1738" y="3099"/>
                    </a:lnTo>
                    <a:cubicBezTo>
                      <a:pt x="1789" y="3112"/>
                      <a:pt x="1837" y="3108"/>
                      <a:pt x="1880" y="3087"/>
                    </a:cubicBezTo>
                    <a:cubicBezTo>
                      <a:pt x="1923" y="3067"/>
                      <a:pt x="1957" y="3032"/>
                      <a:pt x="1979" y="2984"/>
                    </a:cubicBezTo>
                    <a:cubicBezTo>
                      <a:pt x="1998" y="2944"/>
                      <a:pt x="2008" y="2895"/>
                      <a:pt x="2008" y="2837"/>
                    </a:cubicBezTo>
                    <a:lnTo>
                      <a:pt x="2008" y="2508"/>
                    </a:lnTo>
                    <a:lnTo>
                      <a:pt x="2359" y="2508"/>
                    </a:lnTo>
                    <a:lnTo>
                      <a:pt x="2359" y="2297"/>
                    </a:lnTo>
                    <a:lnTo>
                      <a:pt x="1902" y="2297"/>
                    </a:lnTo>
                    <a:lnTo>
                      <a:pt x="1796" y="2297"/>
                    </a:lnTo>
                    <a:lnTo>
                      <a:pt x="1796" y="2402"/>
                    </a:lnTo>
                    <a:lnTo>
                      <a:pt x="1796" y="2837"/>
                    </a:lnTo>
                    <a:cubicBezTo>
                      <a:pt x="1796" y="2862"/>
                      <a:pt x="1794" y="2881"/>
                      <a:pt x="1788" y="2894"/>
                    </a:cubicBezTo>
                    <a:cubicBezTo>
                      <a:pt x="1775" y="2890"/>
                      <a:pt x="1759" y="2880"/>
                      <a:pt x="1739" y="2864"/>
                    </a:cubicBezTo>
                    <a:lnTo>
                      <a:pt x="1739" y="2864"/>
                    </a:lnTo>
                    <a:lnTo>
                      <a:pt x="267" y="1662"/>
                    </a:lnTo>
                    <a:cubicBezTo>
                      <a:pt x="258" y="1655"/>
                      <a:pt x="250" y="1646"/>
                      <a:pt x="242" y="1636"/>
                    </a:cubicBezTo>
                    <a:lnTo>
                      <a:pt x="242" y="1637"/>
                    </a:lnTo>
                    <a:cubicBezTo>
                      <a:pt x="221" y="1611"/>
                      <a:pt x="211" y="1583"/>
                      <a:pt x="211" y="1556"/>
                    </a:cubicBezTo>
                    <a:lnTo>
                      <a:pt x="211" y="1556"/>
                    </a:lnTo>
                    <a:cubicBezTo>
                      <a:pt x="211" y="1528"/>
                      <a:pt x="222" y="1500"/>
                      <a:pt x="242" y="1475"/>
                    </a:cubicBezTo>
                    <a:cubicBezTo>
                      <a:pt x="249" y="1467"/>
                      <a:pt x="258" y="1458"/>
                      <a:pt x="268" y="1450"/>
                    </a:cubicBezTo>
                    <a:lnTo>
                      <a:pt x="268" y="1450"/>
                    </a:lnTo>
                    <a:lnTo>
                      <a:pt x="1739" y="248"/>
                    </a:lnTo>
                    <a:cubicBezTo>
                      <a:pt x="1759" y="231"/>
                      <a:pt x="1775" y="222"/>
                      <a:pt x="1788" y="218"/>
                    </a:cubicBezTo>
                    <a:cubicBezTo>
                      <a:pt x="1793" y="230"/>
                      <a:pt x="1796" y="249"/>
                      <a:pt x="1796" y="275"/>
                    </a:cubicBezTo>
                    <a:lnTo>
                      <a:pt x="1796" y="726"/>
                    </a:lnTo>
                    <a:lnTo>
                      <a:pt x="1796" y="831"/>
                    </a:lnTo>
                    <a:lnTo>
                      <a:pt x="1902" y="831"/>
                    </a:lnTo>
                    <a:lnTo>
                      <a:pt x="2536" y="830"/>
                    </a:lnTo>
                    <a:lnTo>
                      <a:pt x="2536" y="620"/>
                    </a:lnTo>
                    <a:close/>
                    <a:moveTo>
                      <a:pt x="1790" y="215"/>
                    </a:moveTo>
                    <a:lnTo>
                      <a:pt x="1789" y="215"/>
                    </a:lnTo>
                    <a:lnTo>
                      <a:pt x="1789" y="215"/>
                    </a:lnTo>
                    <a:lnTo>
                      <a:pt x="1789" y="215"/>
                    </a:lnTo>
                    <a:lnTo>
                      <a:pt x="1790" y="215"/>
                    </a:lnTo>
                    <a:close/>
                    <a:moveTo>
                      <a:pt x="1790" y="215"/>
                    </a:moveTo>
                    <a:cubicBezTo>
                      <a:pt x="1791" y="216"/>
                      <a:pt x="1790" y="216"/>
                      <a:pt x="1790" y="216"/>
                    </a:cubicBezTo>
                    <a:lnTo>
                      <a:pt x="1789" y="215"/>
                    </a:lnTo>
                    <a:lnTo>
                      <a:pt x="1790" y="215"/>
                    </a:lnTo>
                    <a:close/>
                    <a:moveTo>
                      <a:pt x="1790" y="2897"/>
                    </a:moveTo>
                    <a:lnTo>
                      <a:pt x="1790" y="2897"/>
                    </a:lnTo>
                    <a:lnTo>
                      <a:pt x="1789" y="2897"/>
                    </a:lnTo>
                    <a:lnTo>
                      <a:pt x="1790" y="2896"/>
                    </a:lnTo>
                    <a:cubicBezTo>
                      <a:pt x="1790" y="2896"/>
                      <a:pt x="1791" y="2896"/>
                      <a:pt x="1790" y="2897"/>
                    </a:cubicBezTo>
                    <a:close/>
                    <a:moveTo>
                      <a:pt x="1790" y="2897"/>
                    </a:moveTo>
                    <a:cubicBezTo>
                      <a:pt x="1789" y="2897"/>
                      <a:pt x="1789" y="2897"/>
                      <a:pt x="1789" y="2897"/>
                    </a:cubicBezTo>
                    <a:lnTo>
                      <a:pt x="1790" y="2897"/>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6" name="Freeform 87"/>
              <p:cNvSpPr>
                <a:spLocks/>
              </p:cNvSpPr>
              <p:nvPr/>
            </p:nvSpPr>
            <p:spPr bwMode="auto">
              <a:xfrm>
                <a:off x="4250781" y="2655114"/>
                <a:ext cx="416238" cy="463896"/>
              </a:xfrm>
              <a:custGeom>
                <a:avLst/>
                <a:gdLst>
                  <a:gd name="T0" fmla="*/ 385 w 1732"/>
                  <a:gd name="T1" fmla="*/ 1929 h 1929"/>
                  <a:gd name="T2" fmla="*/ 385 w 1732"/>
                  <a:gd name="T3" fmla="*/ 1059 h 1929"/>
                  <a:gd name="T4" fmla="*/ 124 w 1732"/>
                  <a:gd name="T5" fmla="*/ 1059 h 1929"/>
                  <a:gd name="T6" fmla="*/ 60 w 1732"/>
                  <a:gd name="T7" fmla="*/ 926 h 1929"/>
                  <a:gd name="T8" fmla="*/ 757 w 1732"/>
                  <a:gd name="T9" fmla="*/ 73 h 1929"/>
                  <a:gd name="T10" fmla="*/ 975 w 1732"/>
                  <a:gd name="T11" fmla="*/ 73 h 1929"/>
                  <a:gd name="T12" fmla="*/ 1672 w 1732"/>
                  <a:gd name="T13" fmla="*/ 926 h 1929"/>
                  <a:gd name="T14" fmla="*/ 1609 w 1732"/>
                  <a:gd name="T15" fmla="*/ 1059 h 1929"/>
                  <a:gd name="T16" fmla="*/ 1357 w 1732"/>
                  <a:gd name="T17" fmla="*/ 1059 h 1929"/>
                  <a:gd name="T18" fmla="*/ 1357 w 1732"/>
                  <a:gd name="T19" fmla="*/ 1929 h 1929"/>
                  <a:gd name="T20" fmla="*/ 385 w 1732"/>
                  <a:gd name="T21" fmla="*/ 1929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2" h="1929">
                    <a:moveTo>
                      <a:pt x="385" y="1929"/>
                    </a:moveTo>
                    <a:lnTo>
                      <a:pt x="385" y="1059"/>
                    </a:lnTo>
                    <a:lnTo>
                      <a:pt x="124" y="1059"/>
                    </a:lnTo>
                    <a:cubicBezTo>
                      <a:pt x="29" y="1059"/>
                      <a:pt x="0" y="1000"/>
                      <a:pt x="60" y="926"/>
                    </a:cubicBezTo>
                    <a:lnTo>
                      <a:pt x="757" y="73"/>
                    </a:lnTo>
                    <a:cubicBezTo>
                      <a:pt x="818" y="0"/>
                      <a:pt x="915" y="0"/>
                      <a:pt x="975" y="73"/>
                    </a:cubicBezTo>
                    <a:lnTo>
                      <a:pt x="1672" y="926"/>
                    </a:lnTo>
                    <a:cubicBezTo>
                      <a:pt x="1732" y="1000"/>
                      <a:pt x="1704" y="1059"/>
                      <a:pt x="1609" y="1059"/>
                    </a:cubicBezTo>
                    <a:lnTo>
                      <a:pt x="1357" y="1059"/>
                    </a:lnTo>
                    <a:lnTo>
                      <a:pt x="1357" y="1929"/>
                    </a:lnTo>
                    <a:lnTo>
                      <a:pt x="385" y="1929"/>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sp>
            <p:nvSpPr>
              <p:cNvPr id="87" name="Freeform 88"/>
              <p:cNvSpPr>
                <a:spLocks noEditPoints="1"/>
              </p:cNvSpPr>
              <p:nvPr/>
            </p:nvSpPr>
            <p:spPr bwMode="auto">
              <a:xfrm>
                <a:off x="4085557" y="2508956"/>
                <a:ext cx="746684" cy="610056"/>
              </a:xfrm>
              <a:custGeom>
                <a:avLst/>
                <a:gdLst>
                  <a:gd name="T0" fmla="*/ 620 w 3112"/>
                  <a:gd name="T1" fmla="*/ 2340 h 2536"/>
                  <a:gd name="T2" fmla="*/ 275 w 3112"/>
                  <a:gd name="T3" fmla="*/ 2008 h 2536"/>
                  <a:gd name="T4" fmla="*/ 25 w 3112"/>
                  <a:gd name="T5" fmla="*/ 1880 h 2536"/>
                  <a:gd name="T6" fmla="*/ 14 w 3112"/>
                  <a:gd name="T7" fmla="*/ 1738 h 2536"/>
                  <a:gd name="T8" fmla="*/ 1287 w 3112"/>
                  <a:gd name="T9" fmla="*/ 135 h 2536"/>
                  <a:gd name="T10" fmla="*/ 1342 w 3112"/>
                  <a:gd name="T11" fmla="*/ 79 h 2536"/>
                  <a:gd name="T12" fmla="*/ 1556 w 3112"/>
                  <a:gd name="T13" fmla="*/ 1 h 2536"/>
                  <a:gd name="T14" fmla="*/ 1771 w 3112"/>
                  <a:gd name="T15" fmla="*/ 79 h 2536"/>
                  <a:gd name="T16" fmla="*/ 3028 w 3112"/>
                  <a:gd name="T17" fmla="*/ 1606 h 2536"/>
                  <a:gd name="T18" fmla="*/ 3099 w 3112"/>
                  <a:gd name="T19" fmla="*/ 1738 h 2536"/>
                  <a:gd name="T20" fmla="*/ 3088 w 3112"/>
                  <a:gd name="T21" fmla="*/ 1880 h 2536"/>
                  <a:gd name="T22" fmla="*/ 2838 w 3112"/>
                  <a:gd name="T23" fmla="*/ 2008 h 2536"/>
                  <a:gd name="T24" fmla="*/ 2509 w 3112"/>
                  <a:gd name="T25" fmla="*/ 2359 h 2536"/>
                  <a:gd name="T26" fmla="*/ 2297 w 3112"/>
                  <a:gd name="T27" fmla="*/ 1903 h 2536"/>
                  <a:gd name="T28" fmla="*/ 2403 w 3112"/>
                  <a:gd name="T29" fmla="*/ 1797 h 2536"/>
                  <a:gd name="T30" fmla="*/ 2894 w 3112"/>
                  <a:gd name="T31" fmla="*/ 1789 h 2536"/>
                  <a:gd name="T32" fmla="*/ 2865 w 3112"/>
                  <a:gd name="T33" fmla="*/ 1739 h 2536"/>
                  <a:gd name="T34" fmla="*/ 1637 w 3112"/>
                  <a:gd name="T35" fmla="*/ 242 h 2536"/>
                  <a:gd name="T36" fmla="*/ 1556 w 3112"/>
                  <a:gd name="T37" fmla="*/ 211 h 2536"/>
                  <a:gd name="T38" fmla="*/ 1476 w 3112"/>
                  <a:gd name="T39" fmla="*/ 242 h 2536"/>
                  <a:gd name="T40" fmla="*/ 1450 w 3112"/>
                  <a:gd name="T41" fmla="*/ 268 h 2536"/>
                  <a:gd name="T42" fmla="*/ 218 w 3112"/>
                  <a:gd name="T43" fmla="*/ 1789 h 2536"/>
                  <a:gd name="T44" fmla="*/ 726 w 3112"/>
                  <a:gd name="T45" fmla="*/ 1797 h 2536"/>
                  <a:gd name="T46" fmla="*/ 832 w 3112"/>
                  <a:gd name="T47" fmla="*/ 1903 h 2536"/>
                  <a:gd name="T48" fmla="*/ 620 w 3112"/>
                  <a:gd name="T49" fmla="*/ 2536 h 2536"/>
                  <a:gd name="T50" fmla="*/ 216 w 3112"/>
                  <a:gd name="T51" fmla="*/ 1790 h 2536"/>
                  <a:gd name="T52" fmla="*/ 216 w 3112"/>
                  <a:gd name="T53" fmla="*/ 1790 h 2536"/>
                  <a:gd name="T54" fmla="*/ 216 w 3112"/>
                  <a:gd name="T55" fmla="*/ 1790 h 2536"/>
                  <a:gd name="T56" fmla="*/ 216 w 3112"/>
                  <a:gd name="T57" fmla="*/ 1790 h 2536"/>
                  <a:gd name="T58" fmla="*/ 2897 w 3112"/>
                  <a:gd name="T59" fmla="*/ 1790 h 2536"/>
                  <a:gd name="T60" fmla="*/ 2897 w 3112"/>
                  <a:gd name="T61" fmla="*/ 1790 h 2536"/>
                  <a:gd name="T62" fmla="*/ 2897 w 3112"/>
                  <a:gd name="T63" fmla="*/ 1790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12" h="2536">
                    <a:moveTo>
                      <a:pt x="620" y="2536"/>
                    </a:moveTo>
                    <a:lnTo>
                      <a:pt x="620" y="2340"/>
                    </a:lnTo>
                    <a:lnTo>
                      <a:pt x="621" y="2008"/>
                    </a:lnTo>
                    <a:lnTo>
                      <a:pt x="275" y="2008"/>
                    </a:lnTo>
                    <a:cubicBezTo>
                      <a:pt x="218" y="2008"/>
                      <a:pt x="168" y="1998"/>
                      <a:pt x="128" y="1979"/>
                    </a:cubicBezTo>
                    <a:cubicBezTo>
                      <a:pt x="80" y="1957"/>
                      <a:pt x="45" y="1923"/>
                      <a:pt x="25" y="1880"/>
                    </a:cubicBezTo>
                    <a:cubicBezTo>
                      <a:pt x="5" y="1837"/>
                      <a:pt x="0" y="1789"/>
                      <a:pt x="14" y="1738"/>
                    </a:cubicBezTo>
                    <a:lnTo>
                      <a:pt x="14" y="1738"/>
                    </a:lnTo>
                    <a:cubicBezTo>
                      <a:pt x="25" y="1695"/>
                      <a:pt x="48" y="1651"/>
                      <a:pt x="84" y="1606"/>
                    </a:cubicBezTo>
                    <a:lnTo>
                      <a:pt x="1287" y="135"/>
                    </a:lnTo>
                    <a:lnTo>
                      <a:pt x="1287" y="134"/>
                    </a:lnTo>
                    <a:cubicBezTo>
                      <a:pt x="1304" y="113"/>
                      <a:pt x="1322" y="95"/>
                      <a:pt x="1342" y="79"/>
                    </a:cubicBezTo>
                    <a:cubicBezTo>
                      <a:pt x="1406" y="26"/>
                      <a:pt x="1481" y="0"/>
                      <a:pt x="1556" y="0"/>
                    </a:cubicBezTo>
                    <a:lnTo>
                      <a:pt x="1556" y="1"/>
                    </a:lnTo>
                    <a:cubicBezTo>
                      <a:pt x="1632" y="0"/>
                      <a:pt x="1707" y="27"/>
                      <a:pt x="1770" y="79"/>
                    </a:cubicBezTo>
                    <a:lnTo>
                      <a:pt x="1771" y="79"/>
                    </a:lnTo>
                    <a:cubicBezTo>
                      <a:pt x="1790" y="94"/>
                      <a:pt x="1808" y="113"/>
                      <a:pt x="1826" y="135"/>
                    </a:cubicBezTo>
                    <a:lnTo>
                      <a:pt x="3028" y="1606"/>
                    </a:lnTo>
                    <a:lnTo>
                      <a:pt x="3028" y="1606"/>
                    </a:lnTo>
                    <a:cubicBezTo>
                      <a:pt x="3065" y="1650"/>
                      <a:pt x="3089" y="1695"/>
                      <a:pt x="3099" y="1738"/>
                    </a:cubicBezTo>
                    <a:lnTo>
                      <a:pt x="3099" y="1738"/>
                    </a:lnTo>
                    <a:cubicBezTo>
                      <a:pt x="3112" y="1789"/>
                      <a:pt x="3108" y="1838"/>
                      <a:pt x="3088" y="1880"/>
                    </a:cubicBezTo>
                    <a:cubicBezTo>
                      <a:pt x="3068" y="1923"/>
                      <a:pt x="3033" y="1957"/>
                      <a:pt x="2985" y="1979"/>
                    </a:cubicBezTo>
                    <a:cubicBezTo>
                      <a:pt x="2945" y="1998"/>
                      <a:pt x="2895" y="2008"/>
                      <a:pt x="2838" y="2008"/>
                    </a:cubicBezTo>
                    <a:lnTo>
                      <a:pt x="2509" y="2008"/>
                    </a:lnTo>
                    <a:lnTo>
                      <a:pt x="2509" y="2359"/>
                    </a:lnTo>
                    <a:lnTo>
                      <a:pt x="2297" y="2359"/>
                    </a:lnTo>
                    <a:lnTo>
                      <a:pt x="2297" y="1903"/>
                    </a:lnTo>
                    <a:lnTo>
                      <a:pt x="2297" y="1797"/>
                    </a:lnTo>
                    <a:lnTo>
                      <a:pt x="2403" y="1797"/>
                    </a:lnTo>
                    <a:lnTo>
                      <a:pt x="2838" y="1797"/>
                    </a:lnTo>
                    <a:cubicBezTo>
                      <a:pt x="2863" y="1797"/>
                      <a:pt x="2882" y="1794"/>
                      <a:pt x="2894" y="1789"/>
                    </a:cubicBezTo>
                    <a:cubicBezTo>
                      <a:pt x="2890" y="1776"/>
                      <a:pt x="2881" y="1759"/>
                      <a:pt x="2865" y="1740"/>
                    </a:cubicBezTo>
                    <a:lnTo>
                      <a:pt x="2865" y="1739"/>
                    </a:lnTo>
                    <a:lnTo>
                      <a:pt x="1663" y="268"/>
                    </a:lnTo>
                    <a:cubicBezTo>
                      <a:pt x="1655" y="259"/>
                      <a:pt x="1646" y="250"/>
                      <a:pt x="1637" y="242"/>
                    </a:cubicBezTo>
                    <a:lnTo>
                      <a:pt x="1637" y="242"/>
                    </a:lnTo>
                    <a:cubicBezTo>
                      <a:pt x="1612" y="221"/>
                      <a:pt x="1584" y="211"/>
                      <a:pt x="1556" y="211"/>
                    </a:cubicBezTo>
                    <a:lnTo>
                      <a:pt x="1556" y="212"/>
                    </a:lnTo>
                    <a:cubicBezTo>
                      <a:pt x="1529" y="212"/>
                      <a:pt x="1501" y="222"/>
                      <a:pt x="1476" y="242"/>
                    </a:cubicBezTo>
                    <a:cubicBezTo>
                      <a:pt x="1467" y="249"/>
                      <a:pt x="1459" y="258"/>
                      <a:pt x="1450" y="268"/>
                    </a:cubicBezTo>
                    <a:lnTo>
                      <a:pt x="1450" y="268"/>
                    </a:lnTo>
                    <a:lnTo>
                      <a:pt x="248" y="1739"/>
                    </a:lnTo>
                    <a:cubicBezTo>
                      <a:pt x="232" y="1759"/>
                      <a:pt x="222" y="1776"/>
                      <a:pt x="218" y="1789"/>
                    </a:cubicBezTo>
                    <a:cubicBezTo>
                      <a:pt x="231" y="1794"/>
                      <a:pt x="250" y="1797"/>
                      <a:pt x="275" y="1797"/>
                    </a:cubicBezTo>
                    <a:lnTo>
                      <a:pt x="726" y="1797"/>
                    </a:lnTo>
                    <a:lnTo>
                      <a:pt x="832" y="1797"/>
                    </a:lnTo>
                    <a:lnTo>
                      <a:pt x="832" y="1903"/>
                    </a:lnTo>
                    <a:lnTo>
                      <a:pt x="831" y="2536"/>
                    </a:lnTo>
                    <a:lnTo>
                      <a:pt x="620" y="2536"/>
                    </a:lnTo>
                    <a:close/>
                    <a:moveTo>
                      <a:pt x="216" y="1790"/>
                    </a:moveTo>
                    <a:lnTo>
                      <a:pt x="216" y="1790"/>
                    </a:lnTo>
                    <a:lnTo>
                      <a:pt x="216" y="1790"/>
                    </a:lnTo>
                    <a:lnTo>
                      <a:pt x="216" y="1790"/>
                    </a:lnTo>
                    <a:close/>
                    <a:moveTo>
                      <a:pt x="216" y="1790"/>
                    </a:moveTo>
                    <a:cubicBezTo>
                      <a:pt x="216" y="1791"/>
                      <a:pt x="216" y="1791"/>
                      <a:pt x="216" y="1790"/>
                    </a:cubicBezTo>
                    <a:lnTo>
                      <a:pt x="216" y="1790"/>
                    </a:lnTo>
                    <a:lnTo>
                      <a:pt x="216" y="1790"/>
                    </a:lnTo>
                    <a:close/>
                    <a:moveTo>
                      <a:pt x="2897" y="1790"/>
                    </a:moveTo>
                    <a:lnTo>
                      <a:pt x="2897" y="1790"/>
                    </a:lnTo>
                    <a:lnTo>
                      <a:pt x="2897" y="1790"/>
                    </a:lnTo>
                    <a:lnTo>
                      <a:pt x="2897" y="1790"/>
                    </a:lnTo>
                    <a:cubicBezTo>
                      <a:pt x="2897" y="1791"/>
                      <a:pt x="2897" y="1791"/>
                      <a:pt x="2897" y="1790"/>
                    </a:cubicBezTo>
                    <a:close/>
                    <a:moveTo>
                      <a:pt x="2897" y="1790"/>
                    </a:moveTo>
                    <a:cubicBezTo>
                      <a:pt x="2897" y="1790"/>
                      <a:pt x="2897" y="1790"/>
                      <a:pt x="2897" y="1790"/>
                    </a:cubicBez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useo Sans For Dell"/>
                </a:endParaRPr>
              </a:p>
            </p:txBody>
          </p:sp>
        </p:grpSp>
        <p:sp>
          <p:nvSpPr>
            <p:cNvPr id="88" name="Freeform 87"/>
            <p:cNvSpPr>
              <a:spLocks/>
            </p:cNvSpPr>
            <p:nvPr/>
          </p:nvSpPr>
          <p:spPr bwMode="auto">
            <a:xfrm>
              <a:off x="1023362" y="1721230"/>
              <a:ext cx="1371600" cy="734508"/>
            </a:xfrm>
            <a:custGeom>
              <a:avLst/>
              <a:gdLst>
                <a:gd name="T0" fmla="*/ 113 w 5951"/>
                <a:gd name="T1" fmla="*/ 0 h 2710"/>
                <a:gd name="T2" fmla="*/ 5838 w 5951"/>
                <a:gd name="T3" fmla="*/ 0 h 2710"/>
                <a:gd name="T4" fmla="*/ 5951 w 5951"/>
                <a:gd name="T5" fmla="*/ 113 h 2710"/>
                <a:gd name="T6" fmla="*/ 5951 w 5951"/>
                <a:gd name="T7" fmla="*/ 2597 h 2710"/>
                <a:gd name="T8" fmla="*/ 5838 w 5951"/>
                <a:gd name="T9" fmla="*/ 2710 h 2710"/>
                <a:gd name="T10" fmla="*/ 113 w 5951"/>
                <a:gd name="T11" fmla="*/ 2710 h 2710"/>
                <a:gd name="T12" fmla="*/ 0 w 5951"/>
                <a:gd name="T13" fmla="*/ 2597 h 2710"/>
                <a:gd name="T14" fmla="*/ 0 w 5951"/>
                <a:gd name="T15" fmla="*/ 113 h 2710"/>
                <a:gd name="T16" fmla="*/ 113 w 5951"/>
                <a:gd name="T17" fmla="*/ 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51" h="2710">
                  <a:moveTo>
                    <a:pt x="113" y="0"/>
                  </a:moveTo>
                  <a:lnTo>
                    <a:pt x="5838" y="0"/>
                  </a:lnTo>
                  <a:cubicBezTo>
                    <a:pt x="5900" y="0"/>
                    <a:pt x="5951" y="51"/>
                    <a:pt x="5951" y="113"/>
                  </a:cubicBezTo>
                  <a:lnTo>
                    <a:pt x="5951" y="2597"/>
                  </a:lnTo>
                  <a:cubicBezTo>
                    <a:pt x="5951" y="2659"/>
                    <a:pt x="5900" y="2710"/>
                    <a:pt x="5838" y="2710"/>
                  </a:cubicBezTo>
                  <a:lnTo>
                    <a:pt x="113" y="2710"/>
                  </a:lnTo>
                  <a:cubicBezTo>
                    <a:pt x="51" y="2710"/>
                    <a:pt x="0" y="2659"/>
                    <a:pt x="0" y="2597"/>
                  </a:cubicBezTo>
                  <a:lnTo>
                    <a:pt x="0" y="113"/>
                  </a:lnTo>
                  <a:cubicBezTo>
                    <a:pt x="0" y="51"/>
                    <a:pt x="51" y="0"/>
                    <a:pt x="113" y="0"/>
                  </a:cubicBezTo>
                  <a:close/>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444444"/>
                  </a:solidFill>
                  <a:latin typeface="Museo Sans For Dell"/>
                </a:rPr>
                <a:t>Maintain high platform availability</a:t>
              </a:r>
              <a:endParaRPr kumimoji="0" lang="en-US" sz="2000" b="1" i="0" u="none" strike="noStrike" kern="1200" cap="none" spc="0" normalizeH="0" baseline="0" noProof="0" dirty="0">
                <a:ln>
                  <a:noFill/>
                </a:ln>
                <a:solidFill>
                  <a:srgbClr val="444444"/>
                </a:solidFill>
                <a:effectLst/>
                <a:uLnTx/>
                <a:uFillTx/>
                <a:latin typeface="Museo Sans For Dell"/>
              </a:endParaRPr>
            </a:p>
          </p:txBody>
        </p:sp>
        <p:sp>
          <p:nvSpPr>
            <p:cNvPr id="89" name="Freeform 88"/>
            <p:cNvSpPr>
              <a:spLocks/>
            </p:cNvSpPr>
            <p:nvPr/>
          </p:nvSpPr>
          <p:spPr bwMode="auto">
            <a:xfrm>
              <a:off x="5162913" y="1423282"/>
              <a:ext cx="2580912" cy="734507"/>
            </a:xfrm>
            <a:custGeom>
              <a:avLst/>
              <a:gdLst>
                <a:gd name="T0" fmla="*/ 113 w 5951"/>
                <a:gd name="T1" fmla="*/ 0 h 2710"/>
                <a:gd name="T2" fmla="*/ 5838 w 5951"/>
                <a:gd name="T3" fmla="*/ 0 h 2710"/>
                <a:gd name="T4" fmla="*/ 5951 w 5951"/>
                <a:gd name="T5" fmla="*/ 113 h 2710"/>
                <a:gd name="T6" fmla="*/ 5951 w 5951"/>
                <a:gd name="T7" fmla="*/ 2597 h 2710"/>
                <a:gd name="T8" fmla="*/ 5838 w 5951"/>
                <a:gd name="T9" fmla="*/ 2710 h 2710"/>
                <a:gd name="T10" fmla="*/ 113 w 5951"/>
                <a:gd name="T11" fmla="*/ 2710 h 2710"/>
                <a:gd name="T12" fmla="*/ 0 w 5951"/>
                <a:gd name="T13" fmla="*/ 2597 h 2710"/>
                <a:gd name="T14" fmla="*/ 0 w 5951"/>
                <a:gd name="T15" fmla="*/ 113 h 2710"/>
                <a:gd name="T16" fmla="*/ 113 w 5951"/>
                <a:gd name="T17" fmla="*/ 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51" h="2710">
                  <a:moveTo>
                    <a:pt x="113" y="0"/>
                  </a:moveTo>
                  <a:lnTo>
                    <a:pt x="5838" y="0"/>
                  </a:lnTo>
                  <a:cubicBezTo>
                    <a:pt x="5900" y="0"/>
                    <a:pt x="5951" y="51"/>
                    <a:pt x="5951" y="113"/>
                  </a:cubicBezTo>
                  <a:lnTo>
                    <a:pt x="5951" y="2597"/>
                  </a:lnTo>
                  <a:cubicBezTo>
                    <a:pt x="5951" y="2659"/>
                    <a:pt x="5900" y="2710"/>
                    <a:pt x="5838" y="2710"/>
                  </a:cubicBezTo>
                  <a:lnTo>
                    <a:pt x="113" y="2710"/>
                  </a:lnTo>
                  <a:cubicBezTo>
                    <a:pt x="51" y="2710"/>
                    <a:pt x="0" y="2659"/>
                    <a:pt x="0" y="2597"/>
                  </a:cubicBezTo>
                  <a:lnTo>
                    <a:pt x="0" y="113"/>
                  </a:lnTo>
                  <a:cubicBezTo>
                    <a:pt x="0" y="51"/>
                    <a:pt x="51" y="0"/>
                    <a:pt x="113" y="0"/>
                  </a:cubicBezTo>
                  <a:close/>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175"/>
              <a:r>
                <a:rPr lang="en-US" sz="2000" dirty="0" smtClean="0">
                  <a:solidFill>
                    <a:schemeClr val="bg2"/>
                  </a:solidFill>
                </a:rPr>
                <a:t>Maintain high</a:t>
              </a:r>
            </a:p>
            <a:p>
              <a:pPr indent="-3175"/>
              <a:r>
                <a:rPr lang="en-US" sz="2000" dirty="0" smtClean="0">
                  <a:solidFill>
                    <a:schemeClr val="bg2"/>
                  </a:solidFill>
                </a:rPr>
                <a:t>quality </a:t>
              </a:r>
              <a:r>
                <a:rPr lang="en-US" sz="2000" dirty="0">
                  <a:solidFill>
                    <a:schemeClr val="bg2"/>
                  </a:solidFill>
                </a:rPr>
                <a:t>standard</a:t>
              </a:r>
            </a:p>
          </p:txBody>
        </p:sp>
        <p:sp>
          <p:nvSpPr>
            <p:cNvPr id="90" name="Freeform 89"/>
            <p:cNvSpPr>
              <a:spLocks/>
            </p:cNvSpPr>
            <p:nvPr/>
          </p:nvSpPr>
          <p:spPr bwMode="auto">
            <a:xfrm>
              <a:off x="6438506" y="4190384"/>
              <a:ext cx="1371601" cy="734507"/>
            </a:xfrm>
            <a:custGeom>
              <a:avLst/>
              <a:gdLst>
                <a:gd name="T0" fmla="*/ 113 w 5951"/>
                <a:gd name="T1" fmla="*/ 0 h 2710"/>
                <a:gd name="T2" fmla="*/ 5838 w 5951"/>
                <a:gd name="T3" fmla="*/ 0 h 2710"/>
                <a:gd name="T4" fmla="*/ 5951 w 5951"/>
                <a:gd name="T5" fmla="*/ 113 h 2710"/>
                <a:gd name="T6" fmla="*/ 5951 w 5951"/>
                <a:gd name="T7" fmla="*/ 2597 h 2710"/>
                <a:gd name="T8" fmla="*/ 5838 w 5951"/>
                <a:gd name="T9" fmla="*/ 2710 h 2710"/>
                <a:gd name="T10" fmla="*/ 113 w 5951"/>
                <a:gd name="T11" fmla="*/ 2710 h 2710"/>
                <a:gd name="T12" fmla="*/ 0 w 5951"/>
                <a:gd name="T13" fmla="*/ 2597 h 2710"/>
                <a:gd name="T14" fmla="*/ 0 w 5951"/>
                <a:gd name="T15" fmla="*/ 113 h 2710"/>
                <a:gd name="T16" fmla="*/ 113 w 5951"/>
                <a:gd name="T17" fmla="*/ 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51" h="2710">
                  <a:moveTo>
                    <a:pt x="113" y="0"/>
                  </a:moveTo>
                  <a:lnTo>
                    <a:pt x="5838" y="0"/>
                  </a:lnTo>
                  <a:cubicBezTo>
                    <a:pt x="5900" y="0"/>
                    <a:pt x="5951" y="51"/>
                    <a:pt x="5951" y="113"/>
                  </a:cubicBezTo>
                  <a:lnTo>
                    <a:pt x="5951" y="2597"/>
                  </a:lnTo>
                  <a:cubicBezTo>
                    <a:pt x="5951" y="2659"/>
                    <a:pt x="5900" y="2710"/>
                    <a:pt x="5838" y="2710"/>
                  </a:cubicBezTo>
                  <a:lnTo>
                    <a:pt x="113" y="2710"/>
                  </a:lnTo>
                  <a:cubicBezTo>
                    <a:pt x="51" y="2710"/>
                    <a:pt x="0" y="2659"/>
                    <a:pt x="0" y="2597"/>
                  </a:cubicBezTo>
                  <a:lnTo>
                    <a:pt x="0" y="113"/>
                  </a:lnTo>
                  <a:cubicBezTo>
                    <a:pt x="0" y="51"/>
                    <a:pt x="51" y="0"/>
                    <a:pt x="113" y="0"/>
                  </a:cubicBezTo>
                  <a:close/>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2000" dirty="0" smtClean="0">
                  <a:solidFill>
                    <a:schemeClr val="bg2"/>
                  </a:solidFill>
                </a:rPr>
                <a:t>Move to </a:t>
              </a:r>
              <a:r>
                <a:rPr lang="en-US" sz="2000" dirty="0">
                  <a:solidFill>
                    <a:schemeClr val="bg2"/>
                  </a:solidFill>
                </a:rPr>
                <a:t>value based release </a:t>
              </a:r>
              <a:r>
                <a:rPr lang="en-US" sz="2000" dirty="0" smtClean="0">
                  <a:solidFill>
                    <a:schemeClr val="bg2"/>
                  </a:solidFill>
                </a:rPr>
                <a:t>schedule</a:t>
              </a:r>
              <a:endParaRPr lang="en-US" sz="2000" dirty="0">
                <a:solidFill>
                  <a:schemeClr val="bg2"/>
                </a:solidFill>
              </a:endParaRPr>
            </a:p>
          </p:txBody>
        </p:sp>
        <p:sp>
          <p:nvSpPr>
            <p:cNvPr id="91" name="Freeform 90"/>
            <p:cNvSpPr>
              <a:spLocks/>
            </p:cNvSpPr>
            <p:nvPr/>
          </p:nvSpPr>
          <p:spPr bwMode="auto">
            <a:xfrm>
              <a:off x="1836999" y="5192713"/>
              <a:ext cx="1916943" cy="522665"/>
            </a:xfrm>
            <a:custGeom>
              <a:avLst/>
              <a:gdLst>
                <a:gd name="T0" fmla="*/ 113 w 5951"/>
                <a:gd name="T1" fmla="*/ 0 h 2710"/>
                <a:gd name="T2" fmla="*/ 5838 w 5951"/>
                <a:gd name="T3" fmla="*/ 0 h 2710"/>
                <a:gd name="T4" fmla="*/ 5951 w 5951"/>
                <a:gd name="T5" fmla="*/ 113 h 2710"/>
                <a:gd name="T6" fmla="*/ 5951 w 5951"/>
                <a:gd name="T7" fmla="*/ 2597 h 2710"/>
                <a:gd name="T8" fmla="*/ 5838 w 5951"/>
                <a:gd name="T9" fmla="*/ 2710 h 2710"/>
                <a:gd name="T10" fmla="*/ 113 w 5951"/>
                <a:gd name="T11" fmla="*/ 2710 h 2710"/>
                <a:gd name="T12" fmla="*/ 0 w 5951"/>
                <a:gd name="T13" fmla="*/ 2597 h 2710"/>
                <a:gd name="T14" fmla="*/ 0 w 5951"/>
                <a:gd name="T15" fmla="*/ 113 h 2710"/>
                <a:gd name="T16" fmla="*/ 113 w 5951"/>
                <a:gd name="T17" fmla="*/ 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51" h="2710">
                  <a:moveTo>
                    <a:pt x="113" y="0"/>
                  </a:moveTo>
                  <a:lnTo>
                    <a:pt x="5838" y="0"/>
                  </a:lnTo>
                  <a:cubicBezTo>
                    <a:pt x="5900" y="0"/>
                    <a:pt x="5951" y="51"/>
                    <a:pt x="5951" y="113"/>
                  </a:cubicBezTo>
                  <a:lnTo>
                    <a:pt x="5951" y="2597"/>
                  </a:lnTo>
                  <a:cubicBezTo>
                    <a:pt x="5951" y="2659"/>
                    <a:pt x="5900" y="2710"/>
                    <a:pt x="5838" y="2710"/>
                  </a:cubicBezTo>
                  <a:lnTo>
                    <a:pt x="113" y="2710"/>
                  </a:lnTo>
                  <a:cubicBezTo>
                    <a:pt x="51" y="2710"/>
                    <a:pt x="0" y="2659"/>
                    <a:pt x="0" y="2597"/>
                  </a:cubicBezTo>
                  <a:lnTo>
                    <a:pt x="0" y="113"/>
                  </a:lnTo>
                  <a:cubicBezTo>
                    <a:pt x="0" y="51"/>
                    <a:pt x="51" y="0"/>
                    <a:pt x="113" y="0"/>
                  </a:cubicBezTo>
                  <a:close/>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dirty="0" smtClean="0">
                  <a:solidFill>
                    <a:schemeClr val="bg2"/>
                  </a:solidFill>
                </a:rPr>
                <a:t>Reduce time to market</a:t>
              </a:r>
              <a:endParaRPr lang="en-US" sz="2000" dirty="0">
                <a:solidFill>
                  <a:schemeClr val="bg2"/>
                </a:solidFill>
              </a:endParaRPr>
            </a:p>
          </p:txBody>
        </p:sp>
        <p:grpSp>
          <p:nvGrpSpPr>
            <p:cNvPr id="92" name="Group 91"/>
            <p:cNvGrpSpPr/>
            <p:nvPr/>
          </p:nvGrpSpPr>
          <p:grpSpPr>
            <a:xfrm>
              <a:off x="1028883" y="2753310"/>
              <a:ext cx="1371600" cy="1280160"/>
              <a:chOff x="521120" y="1834326"/>
              <a:chExt cx="1371600" cy="1280160"/>
            </a:xfrm>
          </p:grpSpPr>
          <p:sp>
            <p:nvSpPr>
              <p:cNvPr id="93" name="Rounded Rectangle 92"/>
              <p:cNvSpPr/>
              <p:nvPr/>
            </p:nvSpPr>
            <p:spPr>
              <a:xfrm>
                <a:off x="521120" y="1834326"/>
                <a:ext cx="1371600" cy="1280160"/>
              </a:xfrm>
              <a:prstGeom prst="roundRect">
                <a:avLst>
                  <a:gd name="adj" fmla="val 5129"/>
                </a:avLst>
              </a:prstGeom>
              <a:solidFill>
                <a:srgbClr val="F2AF00"/>
              </a:solidFill>
              <a:effectLst>
                <a:outerShdw blurRad="50800" dist="38100" dir="5400000" algn="t" rotWithShape="0">
                  <a:prstClr val="black">
                    <a:alpha val="40000"/>
                  </a:prstClr>
                </a:outerShdw>
              </a:effectLst>
            </p:spPr>
            <p:txBody>
              <a:bodyPr wrap="square" rtlCol="0" anchor="t">
                <a:normAutofit/>
              </a:bodyPr>
              <a:lstStyle/>
              <a:p>
                <a:pPr marL="0" marR="0" lvl="0" indent="0" algn="ctr" defTabSz="914400" eaLnBrk="1" fontAlgn="auto" latinLnBrk="0" hangingPunct="1">
                  <a:lnSpc>
                    <a:spcPct val="90000"/>
                  </a:lnSpc>
                  <a:spcBef>
                    <a:spcPts val="100"/>
                  </a:spcBef>
                  <a:spcAft>
                    <a:spcPts val="10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Museo Sans For Dell"/>
                  <a:ea typeface="+mn-ea"/>
                  <a:cs typeface="+mn-cs"/>
                </a:endParaRPr>
              </a:p>
            </p:txBody>
          </p:sp>
          <p:sp>
            <p:nvSpPr>
              <p:cNvPr id="94" name="Rectangle 93"/>
              <p:cNvSpPr/>
              <p:nvPr/>
            </p:nvSpPr>
            <p:spPr>
              <a:xfrm>
                <a:off x="521120" y="1869996"/>
                <a:ext cx="1371600" cy="298549"/>
              </a:xfrm>
              <a:prstGeom prst="rect">
                <a:avLst/>
              </a:prstGeom>
            </p:spPr>
            <p:txBody>
              <a:bodyPr wrap="square">
                <a:sp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latin typeface="Museo Sans For Dell"/>
                  </a:rPr>
                  <a:t>Availability</a:t>
                </a:r>
                <a:endParaRPr kumimoji="0" lang="en-US" sz="2000" b="1" i="0" u="none" strike="noStrike" kern="0" cap="none" spc="0" normalizeH="0" baseline="0" noProof="0" dirty="0">
                  <a:ln>
                    <a:noFill/>
                  </a:ln>
                  <a:solidFill>
                    <a:srgbClr val="FFFFFF"/>
                  </a:solidFill>
                  <a:effectLst/>
                  <a:uLnTx/>
                  <a:uFillTx/>
                  <a:latin typeface="Museo Sans For Dell"/>
                </a:endParaRPr>
              </a:p>
            </p:txBody>
          </p:sp>
        </p:grpSp>
        <p:sp>
          <p:nvSpPr>
            <p:cNvPr id="95" name="Rounded Rectangle 94"/>
            <p:cNvSpPr/>
            <p:nvPr/>
          </p:nvSpPr>
          <p:spPr>
            <a:xfrm>
              <a:off x="3758021" y="1368651"/>
              <a:ext cx="1371600" cy="1280160"/>
            </a:xfrm>
            <a:prstGeom prst="roundRect">
              <a:avLst>
                <a:gd name="adj" fmla="val 5129"/>
              </a:avLst>
            </a:prstGeom>
            <a:solidFill>
              <a:srgbClr val="DC5034"/>
            </a:solidFill>
            <a:effectLst>
              <a:outerShdw blurRad="50800" dist="38100" dir="5400000" algn="t" rotWithShape="0">
                <a:prstClr val="black">
                  <a:alpha val="40000"/>
                </a:prstClr>
              </a:outerShdw>
            </a:effectLst>
          </p:spPr>
          <p:txBody>
            <a:bodyPr wrap="square" rtlCol="0" anchor="t">
              <a:normAutofit/>
            </a:bodyPr>
            <a:lstStyle/>
            <a:p>
              <a:pPr marL="0" marR="0" lvl="0" indent="0" algn="ctr" defTabSz="914400" eaLnBrk="1" fontAlgn="auto" latinLnBrk="0" hangingPunct="1">
                <a:lnSpc>
                  <a:spcPct val="90000"/>
                </a:lnSpc>
                <a:spcBef>
                  <a:spcPts val="100"/>
                </a:spcBef>
                <a:spcAft>
                  <a:spcPts val="10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Museo Sans For Dell"/>
                <a:ea typeface="+mn-ea"/>
                <a:cs typeface="+mn-cs"/>
              </a:endParaRPr>
            </a:p>
          </p:txBody>
        </p:sp>
        <p:sp>
          <p:nvSpPr>
            <p:cNvPr id="96" name="Rectangle 95"/>
            <p:cNvSpPr/>
            <p:nvPr/>
          </p:nvSpPr>
          <p:spPr>
            <a:xfrm>
              <a:off x="3772264" y="1386252"/>
              <a:ext cx="1357357" cy="522461"/>
            </a:xfrm>
            <a:prstGeom prst="rect">
              <a:avLst/>
            </a:prstGeom>
          </p:spPr>
          <p:txBody>
            <a:bodyPr wrap="square">
              <a:spAutoFit/>
            </a:bodyPr>
            <a:lstStyle/>
            <a:p>
              <a:pPr algn="ctr" fontAlgn="ctr">
                <a:lnSpc>
                  <a:spcPct val="90000"/>
                </a:lnSpc>
                <a:spcBef>
                  <a:spcPts val="0"/>
                </a:spcBef>
                <a:spcAft>
                  <a:spcPts val="0"/>
                </a:spcAft>
                <a:defRPr/>
              </a:pPr>
              <a:r>
                <a:rPr lang="en-US" sz="2000" b="1" kern="0" dirty="0">
                  <a:solidFill>
                    <a:srgbClr val="FFFFFF"/>
                  </a:solidFill>
                  <a:latin typeface="Museo Sans For Dell"/>
                </a:rPr>
                <a:t>Quality</a:t>
              </a:r>
            </a:p>
            <a:p>
              <a:pPr marL="0" marR="0" lvl="0" indent="0" algn="ctr" defTabSz="914400" eaLnBrk="1" fontAlgn="ctr"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Museo Sans For Dell"/>
              </a:endParaRPr>
            </a:p>
          </p:txBody>
        </p:sp>
        <p:grpSp>
          <p:nvGrpSpPr>
            <p:cNvPr id="97" name="Group 96"/>
            <p:cNvGrpSpPr/>
            <p:nvPr/>
          </p:nvGrpSpPr>
          <p:grpSpPr>
            <a:xfrm>
              <a:off x="1322828" y="3139339"/>
              <a:ext cx="772673" cy="772673"/>
              <a:chOff x="2884608" y="1558889"/>
              <a:chExt cx="1924050" cy="1924050"/>
            </a:xfrm>
          </p:grpSpPr>
          <p:sp>
            <p:nvSpPr>
              <p:cNvPr id="98" name="Oval 97"/>
              <p:cNvSpPr/>
              <p:nvPr/>
            </p:nvSpPr>
            <p:spPr>
              <a:xfrm>
                <a:off x="2884608" y="1558889"/>
                <a:ext cx="1924050" cy="1924050"/>
              </a:xfrm>
              <a:prstGeom prst="ellipse">
                <a:avLst/>
              </a:prstGeom>
              <a:noFill/>
              <a:ln w="38100">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99" name="Oval 98"/>
              <p:cNvSpPr/>
              <p:nvPr/>
            </p:nvSpPr>
            <p:spPr>
              <a:xfrm>
                <a:off x="3158515" y="1832800"/>
                <a:ext cx="1376227" cy="1376228"/>
              </a:xfrm>
              <a:prstGeom prst="ellipse">
                <a:avLst/>
              </a:prstGeom>
              <a:noFill/>
              <a:ln w="28575">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00" name="Oval 99"/>
              <p:cNvSpPr/>
              <p:nvPr/>
            </p:nvSpPr>
            <p:spPr>
              <a:xfrm>
                <a:off x="3400532" y="2074817"/>
                <a:ext cx="892192" cy="892194"/>
              </a:xfrm>
              <a:prstGeom prst="ellipse">
                <a:avLst/>
              </a:prstGeom>
              <a:noFill/>
              <a:ln w="19050">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01" name="Oval 100"/>
              <p:cNvSpPr/>
              <p:nvPr/>
            </p:nvSpPr>
            <p:spPr>
              <a:xfrm>
                <a:off x="3684703" y="2358989"/>
                <a:ext cx="323850" cy="323850"/>
              </a:xfrm>
              <a:prstGeom prst="ellipse">
                <a:avLst/>
              </a:prstGeom>
              <a:solidFill>
                <a:srgbClr val="FFFFFF"/>
              </a:solidFill>
              <a:ln>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cxnSp>
            <p:nvCxnSpPr>
              <p:cNvPr id="102" name="Straight Connector 101"/>
              <p:cNvCxnSpPr>
                <a:stCxn id="101" idx="7"/>
                <a:endCxn id="98" idx="7"/>
              </p:cNvCxnSpPr>
              <p:nvPr/>
            </p:nvCxnSpPr>
            <p:spPr>
              <a:xfrm flipV="1">
                <a:off x="3961126" y="1840660"/>
                <a:ext cx="565758" cy="565755"/>
              </a:xfrm>
              <a:prstGeom prst="line">
                <a:avLst/>
              </a:prstGeom>
              <a:noFill/>
              <a:ln w="38100" cap="flat" cmpd="sng" algn="ctr">
                <a:solidFill>
                  <a:srgbClr val="FFFFFF"/>
                </a:solidFill>
                <a:prstDash val="solid"/>
              </a:ln>
              <a:effectLst/>
            </p:spPr>
          </p:cxnSp>
          <p:sp>
            <p:nvSpPr>
              <p:cNvPr id="103" name="Oval 102"/>
              <p:cNvSpPr/>
              <p:nvPr/>
            </p:nvSpPr>
            <p:spPr>
              <a:xfrm>
                <a:off x="3846628" y="1993854"/>
                <a:ext cx="161925" cy="161925"/>
              </a:xfrm>
              <a:prstGeom prst="ellipse">
                <a:avLst/>
              </a:prstGeom>
              <a:solidFill>
                <a:srgbClr val="FFFFFF"/>
              </a:solidFill>
              <a:ln>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04" name="Oval 103"/>
              <p:cNvSpPr/>
              <p:nvPr/>
            </p:nvSpPr>
            <p:spPr>
              <a:xfrm>
                <a:off x="2996590" y="2173195"/>
                <a:ext cx="161925" cy="161925"/>
              </a:xfrm>
              <a:prstGeom prst="ellipse">
                <a:avLst/>
              </a:prstGeom>
              <a:solidFill>
                <a:srgbClr val="FFFFFF"/>
              </a:solidFill>
              <a:ln>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05" name="Oval 104"/>
              <p:cNvSpPr/>
              <p:nvPr/>
            </p:nvSpPr>
            <p:spPr>
              <a:xfrm>
                <a:off x="3319570" y="2805085"/>
                <a:ext cx="161925" cy="161925"/>
              </a:xfrm>
              <a:prstGeom prst="ellipse">
                <a:avLst/>
              </a:prstGeom>
              <a:solidFill>
                <a:srgbClr val="FFFFFF"/>
              </a:solidFill>
              <a:ln>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06" name="Oval 105"/>
              <p:cNvSpPr/>
              <p:nvPr/>
            </p:nvSpPr>
            <p:spPr>
              <a:xfrm>
                <a:off x="3456210" y="2341377"/>
                <a:ext cx="161925" cy="161925"/>
              </a:xfrm>
              <a:prstGeom prst="ellipse">
                <a:avLst/>
              </a:prstGeom>
              <a:solidFill>
                <a:srgbClr val="FFFFFF"/>
              </a:solidFill>
              <a:ln>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07" name="Oval 106"/>
              <p:cNvSpPr/>
              <p:nvPr/>
            </p:nvSpPr>
            <p:spPr>
              <a:xfrm>
                <a:off x="3927590" y="3128064"/>
                <a:ext cx="161925" cy="161925"/>
              </a:xfrm>
              <a:prstGeom prst="ellipse">
                <a:avLst/>
              </a:prstGeom>
              <a:solidFill>
                <a:srgbClr val="FFFFFF"/>
              </a:solidFill>
              <a:ln>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grpSp>
        <p:sp>
          <p:nvSpPr>
            <p:cNvPr id="108" name="AutoShape 6"/>
            <p:cNvSpPr>
              <a:spLocks noChangeAspect="1" noChangeArrowheads="1" noTextEdit="1"/>
            </p:cNvSpPr>
            <p:nvPr/>
          </p:nvSpPr>
          <p:spPr bwMode="auto">
            <a:xfrm>
              <a:off x="3663950" y="2289744"/>
              <a:ext cx="1816100"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09" name="Group 108"/>
            <p:cNvGrpSpPr/>
            <p:nvPr/>
          </p:nvGrpSpPr>
          <p:grpSpPr>
            <a:xfrm>
              <a:off x="4186646" y="1790536"/>
              <a:ext cx="3623461" cy="2345670"/>
              <a:chOff x="4186646" y="1366105"/>
              <a:chExt cx="3623461" cy="2345670"/>
            </a:xfrm>
          </p:grpSpPr>
          <p:grpSp>
            <p:nvGrpSpPr>
              <p:cNvPr id="110" name="Group 109"/>
              <p:cNvGrpSpPr/>
              <p:nvPr/>
            </p:nvGrpSpPr>
            <p:grpSpPr>
              <a:xfrm>
                <a:off x="6438507" y="2431615"/>
                <a:ext cx="1371600" cy="1280160"/>
                <a:chOff x="6308973" y="2184682"/>
                <a:chExt cx="1371600" cy="1280160"/>
              </a:xfrm>
            </p:grpSpPr>
            <p:sp>
              <p:nvSpPr>
                <p:cNvPr id="118" name="Rounded Rectangle 117"/>
                <p:cNvSpPr/>
                <p:nvPr/>
              </p:nvSpPr>
              <p:spPr>
                <a:xfrm>
                  <a:off x="6308973" y="2184682"/>
                  <a:ext cx="1371600" cy="1280160"/>
                </a:xfrm>
                <a:prstGeom prst="roundRect">
                  <a:avLst>
                    <a:gd name="adj" fmla="val 5129"/>
                  </a:avLst>
                </a:prstGeom>
                <a:solidFill>
                  <a:srgbClr val="444444">
                    <a:lumMod val="40000"/>
                    <a:lumOff val="60000"/>
                  </a:srgbClr>
                </a:solidFill>
                <a:effectLst>
                  <a:outerShdw blurRad="50800" dist="38100" dir="5400000" algn="t" rotWithShape="0">
                    <a:prstClr val="black">
                      <a:alpha val="40000"/>
                    </a:prstClr>
                  </a:outerShdw>
                </a:effectLst>
              </p:spPr>
              <p:txBody>
                <a:bodyPr wrap="square" rtlCol="0" anchor="t">
                  <a:normAutofit/>
                </a:bodyPr>
                <a:lstStyle/>
                <a:p>
                  <a:pPr marL="0" marR="0" lvl="0" indent="0" algn="ctr" defTabSz="914400" eaLnBrk="1" fontAlgn="auto" latinLnBrk="0" hangingPunct="1">
                    <a:lnSpc>
                      <a:spcPct val="90000"/>
                    </a:lnSpc>
                    <a:spcBef>
                      <a:spcPts val="100"/>
                    </a:spcBef>
                    <a:spcAft>
                      <a:spcPts val="10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Museo Sans For Dell"/>
                    <a:ea typeface="+mn-ea"/>
                    <a:cs typeface="+mn-cs"/>
                  </a:endParaRPr>
                </a:p>
              </p:txBody>
            </p:sp>
            <p:sp>
              <p:nvSpPr>
                <p:cNvPr id="119" name="Rectangle 118"/>
                <p:cNvSpPr/>
                <p:nvPr/>
              </p:nvSpPr>
              <p:spPr>
                <a:xfrm>
                  <a:off x="6308973" y="2219461"/>
                  <a:ext cx="1371600" cy="298549"/>
                </a:xfrm>
                <a:prstGeom prst="rect">
                  <a:avLst/>
                </a:prstGeom>
              </p:spPr>
              <p:txBody>
                <a:bodyPr wrap="square">
                  <a:sp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latin typeface="Museo Sans For Dell"/>
                    </a:rPr>
                    <a:t>Lifecycle</a:t>
                  </a:r>
                  <a:endParaRPr kumimoji="0" lang="en-US" sz="2000" b="1" i="0" u="none" strike="noStrike" kern="0" cap="none" spc="0" normalizeH="0" baseline="0" noProof="0" dirty="0">
                    <a:ln>
                      <a:noFill/>
                    </a:ln>
                    <a:solidFill>
                      <a:srgbClr val="FFFFFF"/>
                    </a:solidFill>
                    <a:effectLst/>
                    <a:uLnTx/>
                    <a:uFillTx/>
                    <a:latin typeface="Museo Sans For Dell"/>
                  </a:endParaRPr>
                </a:p>
              </p:txBody>
            </p:sp>
          </p:grpSp>
          <p:grpSp>
            <p:nvGrpSpPr>
              <p:cNvPr id="111" name="Group 110"/>
              <p:cNvGrpSpPr/>
              <p:nvPr/>
            </p:nvGrpSpPr>
            <p:grpSpPr>
              <a:xfrm>
                <a:off x="4186646" y="1366105"/>
                <a:ext cx="565561" cy="629281"/>
                <a:chOff x="4186646" y="1308432"/>
                <a:chExt cx="565561" cy="629281"/>
              </a:xfrm>
            </p:grpSpPr>
            <p:sp>
              <p:nvSpPr>
                <p:cNvPr id="116" name="Oval 115"/>
                <p:cNvSpPr/>
                <p:nvPr/>
              </p:nvSpPr>
              <p:spPr>
                <a:xfrm>
                  <a:off x="4186646" y="1308432"/>
                  <a:ext cx="476250" cy="476250"/>
                </a:xfrm>
                <a:prstGeom prst="ellipse">
                  <a:avLst/>
                </a:prstGeom>
                <a:noFill/>
                <a:ln w="38100">
                  <a:solidFill>
                    <a:srgbClr val="FFFFFF"/>
                  </a:solidFill>
                </a:ln>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cxnSp>
              <p:nvCxnSpPr>
                <p:cNvPr id="117" name="Straight Connector 116"/>
                <p:cNvCxnSpPr/>
                <p:nvPr/>
              </p:nvCxnSpPr>
              <p:spPr>
                <a:xfrm>
                  <a:off x="4551232" y="1728559"/>
                  <a:ext cx="200975" cy="209154"/>
                </a:xfrm>
                <a:prstGeom prst="line">
                  <a:avLst/>
                </a:prstGeom>
                <a:noFill/>
                <a:ln w="76200" cap="flat" cmpd="sng" algn="ctr">
                  <a:solidFill>
                    <a:srgbClr val="FFFFFF"/>
                  </a:solidFill>
                  <a:prstDash val="solid"/>
                </a:ln>
                <a:effectLst/>
              </p:spPr>
            </p:cxnSp>
          </p:grpSp>
          <p:sp>
            <p:nvSpPr>
              <p:cNvPr id="113" name="TextBox 112"/>
              <p:cNvSpPr txBox="1"/>
              <p:nvPr/>
            </p:nvSpPr>
            <p:spPr>
              <a:xfrm>
                <a:off x="6964216" y="2846896"/>
                <a:ext cx="377332" cy="500315"/>
              </a:xfrm>
              <a:prstGeom prst="rect">
                <a:avLst/>
              </a:prstGeom>
              <a:noFill/>
            </p:spPr>
            <p:txBody>
              <a:bodyPr wrap="none" rtlCol="0">
                <a:noAutofit/>
              </a:bodyPr>
              <a:lstStyle/>
              <a:p>
                <a:pPr marL="0" marR="0" lvl="0" indent="0" defTabSz="914400" eaLnBrk="1" fontAlgn="auto" latinLnBrk="0" hangingPunct="1">
                  <a:lnSpc>
                    <a:spcPct val="90000"/>
                  </a:lnSpc>
                  <a:spcBef>
                    <a:spcPts val="600"/>
                  </a:spcBef>
                  <a:spcAft>
                    <a:spcPts val="0"/>
                  </a:spcAft>
                  <a:buClr>
                    <a:srgbClr val="0085C3"/>
                  </a:buClr>
                  <a:buSzTx/>
                  <a:buFontTx/>
                  <a:buNone/>
                  <a:tabLst/>
                  <a:defRPr/>
                </a:pPr>
                <a:endParaRPr kumimoji="0" lang="en-US" sz="3200" b="1" i="0" u="none" strike="noStrike" kern="0" cap="none" spc="0" normalizeH="0" baseline="0" noProof="0" dirty="0" smtClean="0">
                  <a:ln>
                    <a:noFill/>
                  </a:ln>
                  <a:solidFill>
                    <a:srgbClr val="FFFFFF"/>
                  </a:solidFill>
                  <a:effectLst/>
                  <a:uLnTx/>
                  <a:uFillTx/>
                  <a:latin typeface="Museo Sans For Dell"/>
                </a:endParaRPr>
              </a:p>
            </p:txBody>
          </p:sp>
          <p:sp>
            <p:nvSpPr>
              <p:cNvPr id="114" name="Freeform 12"/>
              <p:cNvSpPr>
                <a:spLocks/>
              </p:cNvSpPr>
              <p:nvPr/>
            </p:nvSpPr>
            <p:spPr bwMode="auto">
              <a:xfrm>
                <a:off x="4371589" y="1492860"/>
                <a:ext cx="144463" cy="182880"/>
              </a:xfrm>
              <a:custGeom>
                <a:avLst/>
                <a:gdLst>
                  <a:gd name="T0" fmla="*/ 1138 w 1394"/>
                  <a:gd name="T1" fmla="*/ 3 h 1305"/>
                  <a:gd name="T2" fmla="*/ 1121 w 1394"/>
                  <a:gd name="T3" fmla="*/ 21 h 1305"/>
                  <a:gd name="T4" fmla="*/ 1090 w 1394"/>
                  <a:gd name="T5" fmla="*/ 55 h 1305"/>
                  <a:gd name="T6" fmla="*/ 1047 w 1394"/>
                  <a:gd name="T7" fmla="*/ 99 h 1305"/>
                  <a:gd name="T8" fmla="*/ 998 w 1394"/>
                  <a:gd name="T9" fmla="*/ 151 h 1305"/>
                  <a:gd name="T10" fmla="*/ 945 w 1394"/>
                  <a:gd name="T11" fmla="*/ 207 h 1305"/>
                  <a:gd name="T12" fmla="*/ 892 w 1394"/>
                  <a:gd name="T13" fmla="*/ 262 h 1305"/>
                  <a:gd name="T14" fmla="*/ 842 w 1394"/>
                  <a:gd name="T15" fmla="*/ 313 h 1305"/>
                  <a:gd name="T16" fmla="*/ 788 w 1394"/>
                  <a:gd name="T17" fmla="*/ 367 h 1305"/>
                  <a:gd name="T18" fmla="*/ 729 w 1394"/>
                  <a:gd name="T19" fmla="*/ 432 h 1305"/>
                  <a:gd name="T20" fmla="*/ 675 w 1394"/>
                  <a:gd name="T21" fmla="*/ 498 h 1305"/>
                  <a:gd name="T22" fmla="*/ 622 w 1394"/>
                  <a:gd name="T23" fmla="*/ 566 h 1305"/>
                  <a:gd name="T24" fmla="*/ 572 w 1394"/>
                  <a:gd name="T25" fmla="*/ 636 h 1305"/>
                  <a:gd name="T26" fmla="*/ 523 w 1394"/>
                  <a:gd name="T27" fmla="*/ 706 h 1305"/>
                  <a:gd name="T28" fmla="*/ 474 w 1394"/>
                  <a:gd name="T29" fmla="*/ 776 h 1305"/>
                  <a:gd name="T30" fmla="*/ 425 w 1394"/>
                  <a:gd name="T31" fmla="*/ 848 h 1305"/>
                  <a:gd name="T32" fmla="*/ 392 w 1394"/>
                  <a:gd name="T33" fmla="*/ 867 h 1305"/>
                  <a:gd name="T34" fmla="*/ 368 w 1394"/>
                  <a:gd name="T35" fmla="*/ 832 h 1305"/>
                  <a:gd name="T36" fmla="*/ 337 w 1394"/>
                  <a:gd name="T37" fmla="*/ 791 h 1305"/>
                  <a:gd name="T38" fmla="*/ 302 w 1394"/>
                  <a:gd name="T39" fmla="*/ 747 h 1305"/>
                  <a:gd name="T40" fmla="*/ 266 w 1394"/>
                  <a:gd name="T41" fmla="*/ 702 h 1305"/>
                  <a:gd name="T42" fmla="*/ 232 w 1394"/>
                  <a:gd name="T43" fmla="*/ 659 h 1305"/>
                  <a:gd name="T44" fmla="*/ 199 w 1394"/>
                  <a:gd name="T45" fmla="*/ 619 h 1305"/>
                  <a:gd name="T46" fmla="*/ 172 w 1394"/>
                  <a:gd name="T47" fmla="*/ 585 h 1305"/>
                  <a:gd name="T48" fmla="*/ 154 w 1394"/>
                  <a:gd name="T49" fmla="*/ 583 h 1305"/>
                  <a:gd name="T50" fmla="*/ 110 w 1394"/>
                  <a:gd name="T51" fmla="*/ 655 h 1305"/>
                  <a:gd name="T52" fmla="*/ 51 w 1394"/>
                  <a:gd name="T53" fmla="*/ 752 h 1305"/>
                  <a:gd name="T54" fmla="*/ 7 w 1394"/>
                  <a:gd name="T55" fmla="*/ 825 h 1305"/>
                  <a:gd name="T56" fmla="*/ 19 w 1394"/>
                  <a:gd name="T57" fmla="*/ 863 h 1305"/>
                  <a:gd name="T58" fmla="*/ 66 w 1394"/>
                  <a:gd name="T59" fmla="*/ 926 h 1305"/>
                  <a:gd name="T60" fmla="*/ 120 w 1394"/>
                  <a:gd name="T61" fmla="*/ 1001 h 1305"/>
                  <a:gd name="T62" fmla="*/ 180 w 1394"/>
                  <a:gd name="T63" fmla="*/ 1079 h 1305"/>
                  <a:gd name="T64" fmla="*/ 239 w 1394"/>
                  <a:gd name="T65" fmla="*/ 1156 h 1305"/>
                  <a:gd name="T66" fmla="*/ 294 w 1394"/>
                  <a:gd name="T67" fmla="*/ 1222 h 1305"/>
                  <a:gd name="T68" fmla="*/ 341 w 1394"/>
                  <a:gd name="T69" fmla="*/ 1273 h 1305"/>
                  <a:gd name="T70" fmla="*/ 376 w 1394"/>
                  <a:gd name="T71" fmla="*/ 1302 h 1305"/>
                  <a:gd name="T72" fmla="*/ 395 w 1394"/>
                  <a:gd name="T73" fmla="*/ 1305 h 1305"/>
                  <a:gd name="T74" fmla="*/ 410 w 1394"/>
                  <a:gd name="T75" fmla="*/ 1295 h 1305"/>
                  <a:gd name="T76" fmla="*/ 438 w 1394"/>
                  <a:gd name="T77" fmla="*/ 1266 h 1305"/>
                  <a:gd name="T78" fmla="*/ 478 w 1394"/>
                  <a:gd name="T79" fmla="*/ 1221 h 1305"/>
                  <a:gd name="T80" fmla="*/ 529 w 1394"/>
                  <a:gd name="T81" fmla="*/ 1163 h 1305"/>
                  <a:gd name="T82" fmla="*/ 588 w 1394"/>
                  <a:gd name="T83" fmla="*/ 1091 h 1305"/>
                  <a:gd name="T84" fmla="*/ 655 w 1394"/>
                  <a:gd name="T85" fmla="*/ 1010 h 1305"/>
                  <a:gd name="T86" fmla="*/ 727 w 1394"/>
                  <a:gd name="T87" fmla="*/ 922 h 1305"/>
                  <a:gd name="T88" fmla="*/ 804 w 1394"/>
                  <a:gd name="T89" fmla="*/ 828 h 1305"/>
                  <a:gd name="T90" fmla="*/ 884 w 1394"/>
                  <a:gd name="T91" fmla="*/ 732 h 1305"/>
                  <a:gd name="T92" fmla="*/ 964 w 1394"/>
                  <a:gd name="T93" fmla="*/ 634 h 1305"/>
                  <a:gd name="T94" fmla="*/ 1045 w 1394"/>
                  <a:gd name="T95" fmla="*/ 539 h 1305"/>
                  <a:gd name="T96" fmla="*/ 1124 w 1394"/>
                  <a:gd name="T97" fmla="*/ 447 h 1305"/>
                  <a:gd name="T98" fmla="*/ 1200 w 1394"/>
                  <a:gd name="T99" fmla="*/ 360 h 1305"/>
                  <a:gd name="T100" fmla="*/ 1272 w 1394"/>
                  <a:gd name="T101" fmla="*/ 283 h 1305"/>
                  <a:gd name="T102" fmla="*/ 1336 w 1394"/>
                  <a:gd name="T103" fmla="*/ 215 h 1305"/>
                  <a:gd name="T104" fmla="*/ 1394 w 1394"/>
                  <a:gd name="T105" fmla="*/ 159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4" h="1305">
                    <a:moveTo>
                      <a:pt x="1140" y="0"/>
                    </a:moveTo>
                    <a:lnTo>
                      <a:pt x="1138" y="3"/>
                    </a:lnTo>
                    <a:lnTo>
                      <a:pt x="1131" y="10"/>
                    </a:lnTo>
                    <a:lnTo>
                      <a:pt x="1121" y="21"/>
                    </a:lnTo>
                    <a:lnTo>
                      <a:pt x="1107" y="36"/>
                    </a:lnTo>
                    <a:lnTo>
                      <a:pt x="1090" y="55"/>
                    </a:lnTo>
                    <a:lnTo>
                      <a:pt x="1069" y="75"/>
                    </a:lnTo>
                    <a:lnTo>
                      <a:pt x="1047" y="99"/>
                    </a:lnTo>
                    <a:lnTo>
                      <a:pt x="1023" y="125"/>
                    </a:lnTo>
                    <a:lnTo>
                      <a:pt x="998" y="151"/>
                    </a:lnTo>
                    <a:lnTo>
                      <a:pt x="972" y="179"/>
                    </a:lnTo>
                    <a:lnTo>
                      <a:pt x="945" y="207"/>
                    </a:lnTo>
                    <a:lnTo>
                      <a:pt x="918" y="234"/>
                    </a:lnTo>
                    <a:lnTo>
                      <a:pt x="892" y="262"/>
                    </a:lnTo>
                    <a:lnTo>
                      <a:pt x="866" y="287"/>
                    </a:lnTo>
                    <a:lnTo>
                      <a:pt x="842" y="313"/>
                    </a:lnTo>
                    <a:lnTo>
                      <a:pt x="819" y="336"/>
                    </a:lnTo>
                    <a:lnTo>
                      <a:pt x="788" y="367"/>
                    </a:lnTo>
                    <a:lnTo>
                      <a:pt x="758" y="399"/>
                    </a:lnTo>
                    <a:lnTo>
                      <a:pt x="729" y="432"/>
                    </a:lnTo>
                    <a:lnTo>
                      <a:pt x="702" y="465"/>
                    </a:lnTo>
                    <a:lnTo>
                      <a:pt x="675" y="498"/>
                    </a:lnTo>
                    <a:lnTo>
                      <a:pt x="648" y="533"/>
                    </a:lnTo>
                    <a:lnTo>
                      <a:pt x="622" y="566"/>
                    </a:lnTo>
                    <a:lnTo>
                      <a:pt x="597" y="601"/>
                    </a:lnTo>
                    <a:lnTo>
                      <a:pt x="572" y="636"/>
                    </a:lnTo>
                    <a:lnTo>
                      <a:pt x="547" y="671"/>
                    </a:lnTo>
                    <a:lnTo>
                      <a:pt x="523" y="706"/>
                    </a:lnTo>
                    <a:lnTo>
                      <a:pt x="498" y="742"/>
                    </a:lnTo>
                    <a:lnTo>
                      <a:pt x="474" y="776"/>
                    </a:lnTo>
                    <a:lnTo>
                      <a:pt x="450" y="812"/>
                    </a:lnTo>
                    <a:lnTo>
                      <a:pt x="425" y="848"/>
                    </a:lnTo>
                    <a:lnTo>
                      <a:pt x="401" y="882"/>
                    </a:lnTo>
                    <a:lnTo>
                      <a:pt x="392" y="867"/>
                    </a:lnTo>
                    <a:lnTo>
                      <a:pt x="380" y="850"/>
                    </a:lnTo>
                    <a:lnTo>
                      <a:pt x="368" y="832"/>
                    </a:lnTo>
                    <a:lnTo>
                      <a:pt x="353" y="812"/>
                    </a:lnTo>
                    <a:lnTo>
                      <a:pt x="337" y="791"/>
                    </a:lnTo>
                    <a:lnTo>
                      <a:pt x="321" y="769"/>
                    </a:lnTo>
                    <a:lnTo>
                      <a:pt x="302" y="747"/>
                    </a:lnTo>
                    <a:lnTo>
                      <a:pt x="285" y="724"/>
                    </a:lnTo>
                    <a:lnTo>
                      <a:pt x="266" y="702"/>
                    </a:lnTo>
                    <a:lnTo>
                      <a:pt x="249" y="681"/>
                    </a:lnTo>
                    <a:lnTo>
                      <a:pt x="232" y="659"/>
                    </a:lnTo>
                    <a:lnTo>
                      <a:pt x="215" y="638"/>
                    </a:lnTo>
                    <a:lnTo>
                      <a:pt x="199" y="619"/>
                    </a:lnTo>
                    <a:lnTo>
                      <a:pt x="185" y="601"/>
                    </a:lnTo>
                    <a:lnTo>
                      <a:pt x="172" y="585"/>
                    </a:lnTo>
                    <a:lnTo>
                      <a:pt x="161" y="571"/>
                    </a:lnTo>
                    <a:lnTo>
                      <a:pt x="154" y="583"/>
                    </a:lnTo>
                    <a:lnTo>
                      <a:pt x="136" y="613"/>
                    </a:lnTo>
                    <a:lnTo>
                      <a:pt x="110" y="655"/>
                    </a:lnTo>
                    <a:lnTo>
                      <a:pt x="81" y="704"/>
                    </a:lnTo>
                    <a:lnTo>
                      <a:pt x="51" y="752"/>
                    </a:lnTo>
                    <a:lnTo>
                      <a:pt x="26" y="795"/>
                    </a:lnTo>
                    <a:lnTo>
                      <a:pt x="7" y="825"/>
                    </a:lnTo>
                    <a:lnTo>
                      <a:pt x="0" y="836"/>
                    </a:lnTo>
                    <a:lnTo>
                      <a:pt x="19" y="863"/>
                    </a:lnTo>
                    <a:lnTo>
                      <a:pt x="41" y="893"/>
                    </a:lnTo>
                    <a:lnTo>
                      <a:pt x="66" y="926"/>
                    </a:lnTo>
                    <a:lnTo>
                      <a:pt x="93" y="963"/>
                    </a:lnTo>
                    <a:lnTo>
                      <a:pt x="120" y="1001"/>
                    </a:lnTo>
                    <a:lnTo>
                      <a:pt x="150" y="1040"/>
                    </a:lnTo>
                    <a:lnTo>
                      <a:pt x="180" y="1079"/>
                    </a:lnTo>
                    <a:lnTo>
                      <a:pt x="210" y="1119"/>
                    </a:lnTo>
                    <a:lnTo>
                      <a:pt x="239" y="1156"/>
                    </a:lnTo>
                    <a:lnTo>
                      <a:pt x="268" y="1190"/>
                    </a:lnTo>
                    <a:lnTo>
                      <a:pt x="294" y="1222"/>
                    </a:lnTo>
                    <a:lnTo>
                      <a:pt x="319" y="1250"/>
                    </a:lnTo>
                    <a:lnTo>
                      <a:pt x="341" y="1273"/>
                    </a:lnTo>
                    <a:lnTo>
                      <a:pt x="361" y="1290"/>
                    </a:lnTo>
                    <a:lnTo>
                      <a:pt x="376" y="1302"/>
                    </a:lnTo>
                    <a:lnTo>
                      <a:pt x="387" y="1305"/>
                    </a:lnTo>
                    <a:lnTo>
                      <a:pt x="395" y="1305"/>
                    </a:lnTo>
                    <a:lnTo>
                      <a:pt x="401" y="1303"/>
                    </a:lnTo>
                    <a:lnTo>
                      <a:pt x="410" y="1295"/>
                    </a:lnTo>
                    <a:lnTo>
                      <a:pt x="423" y="1284"/>
                    </a:lnTo>
                    <a:lnTo>
                      <a:pt x="438" y="1266"/>
                    </a:lnTo>
                    <a:lnTo>
                      <a:pt x="456" y="1246"/>
                    </a:lnTo>
                    <a:lnTo>
                      <a:pt x="478" y="1221"/>
                    </a:lnTo>
                    <a:lnTo>
                      <a:pt x="503" y="1194"/>
                    </a:lnTo>
                    <a:lnTo>
                      <a:pt x="529" y="1163"/>
                    </a:lnTo>
                    <a:lnTo>
                      <a:pt x="558" y="1128"/>
                    </a:lnTo>
                    <a:lnTo>
                      <a:pt x="588" y="1091"/>
                    </a:lnTo>
                    <a:lnTo>
                      <a:pt x="620" y="1052"/>
                    </a:lnTo>
                    <a:lnTo>
                      <a:pt x="655" y="1010"/>
                    </a:lnTo>
                    <a:lnTo>
                      <a:pt x="690" y="967"/>
                    </a:lnTo>
                    <a:lnTo>
                      <a:pt x="727" y="922"/>
                    </a:lnTo>
                    <a:lnTo>
                      <a:pt x="765" y="875"/>
                    </a:lnTo>
                    <a:lnTo>
                      <a:pt x="804" y="828"/>
                    </a:lnTo>
                    <a:lnTo>
                      <a:pt x="843" y="781"/>
                    </a:lnTo>
                    <a:lnTo>
                      <a:pt x="884" y="732"/>
                    </a:lnTo>
                    <a:lnTo>
                      <a:pt x="924" y="683"/>
                    </a:lnTo>
                    <a:lnTo>
                      <a:pt x="964" y="634"/>
                    </a:lnTo>
                    <a:lnTo>
                      <a:pt x="1005" y="586"/>
                    </a:lnTo>
                    <a:lnTo>
                      <a:pt x="1045" y="539"/>
                    </a:lnTo>
                    <a:lnTo>
                      <a:pt x="1085" y="493"/>
                    </a:lnTo>
                    <a:lnTo>
                      <a:pt x="1124" y="447"/>
                    </a:lnTo>
                    <a:lnTo>
                      <a:pt x="1162" y="403"/>
                    </a:lnTo>
                    <a:lnTo>
                      <a:pt x="1200" y="360"/>
                    </a:lnTo>
                    <a:lnTo>
                      <a:pt x="1237" y="321"/>
                    </a:lnTo>
                    <a:lnTo>
                      <a:pt x="1272" y="283"/>
                    </a:lnTo>
                    <a:lnTo>
                      <a:pt x="1305" y="247"/>
                    </a:lnTo>
                    <a:lnTo>
                      <a:pt x="1336" y="215"/>
                    </a:lnTo>
                    <a:lnTo>
                      <a:pt x="1366" y="185"/>
                    </a:lnTo>
                    <a:lnTo>
                      <a:pt x="1394" y="159"/>
                    </a:lnTo>
                    <a:lnTo>
                      <a:pt x="11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20" name="Rounded Rectangle 119"/>
            <p:cNvSpPr/>
            <p:nvPr/>
          </p:nvSpPr>
          <p:spPr>
            <a:xfrm>
              <a:off x="3772263" y="4440259"/>
              <a:ext cx="1371600" cy="1280160"/>
            </a:xfrm>
            <a:prstGeom prst="roundRect">
              <a:avLst>
                <a:gd name="adj" fmla="val 5129"/>
              </a:avLst>
            </a:prstGeom>
            <a:solidFill>
              <a:srgbClr val="B7295A"/>
            </a:solidFill>
            <a:effectLst>
              <a:outerShdw blurRad="50800" dist="38100" dir="5400000" algn="t" rotWithShape="0">
                <a:prstClr val="black">
                  <a:alpha val="40000"/>
                </a:prstClr>
              </a:outerShdw>
            </a:effectLst>
          </p:spPr>
          <p:txBody>
            <a:bodyPr wrap="square" rtlCol="0" anchor="t">
              <a:normAutofit/>
            </a:bodyPr>
            <a:lstStyle/>
            <a:p>
              <a:pPr marL="0" marR="0" lvl="0" indent="0" algn="ctr" defTabSz="914400" eaLnBrk="1" fontAlgn="auto" latinLnBrk="0" hangingPunct="1">
                <a:lnSpc>
                  <a:spcPct val="90000"/>
                </a:lnSpc>
                <a:spcBef>
                  <a:spcPts val="100"/>
                </a:spcBef>
                <a:spcAft>
                  <a:spcPts val="10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Museo Sans For Dell"/>
                <a:ea typeface="+mn-ea"/>
                <a:cs typeface="+mn-cs"/>
              </a:endParaRPr>
            </a:p>
          </p:txBody>
        </p:sp>
        <p:pic>
          <p:nvPicPr>
            <p:cNvPr id="121" name="Picture 5" descr="C:\Users\coy_poage\Documents\Marketing\Graphics\ICONS\timer_wh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73049" y="4835810"/>
              <a:ext cx="779644" cy="713808"/>
            </a:xfrm>
            <a:prstGeom prst="rect">
              <a:avLst/>
            </a:prstGeom>
            <a:solidFill>
              <a:srgbClr val="B7295A"/>
            </a:solidFill>
            <a:extLst/>
          </p:spPr>
        </p:pic>
        <p:sp>
          <p:nvSpPr>
            <p:cNvPr id="122" name="Rectangle 121"/>
            <p:cNvSpPr/>
            <p:nvPr/>
          </p:nvSpPr>
          <p:spPr>
            <a:xfrm>
              <a:off x="3772264" y="4452298"/>
              <a:ext cx="1357356" cy="298549"/>
            </a:xfrm>
            <a:prstGeom prst="rect">
              <a:avLst/>
            </a:prstGeom>
          </p:spPr>
          <p:txBody>
            <a:bodyPr wrap="square">
              <a:sp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latin typeface="Museo Sans For Dell"/>
                </a:rPr>
                <a:t>Respond</a:t>
              </a:r>
              <a:endParaRPr kumimoji="0" lang="en-US" sz="2000" b="1" i="0" u="none" strike="noStrike" kern="0" cap="none" spc="0" normalizeH="0" baseline="0" noProof="0" dirty="0">
                <a:ln>
                  <a:noFill/>
                </a:ln>
                <a:solidFill>
                  <a:srgbClr val="FFFFFF"/>
                </a:solidFill>
                <a:effectLst/>
                <a:uLnTx/>
                <a:uFillTx/>
                <a:latin typeface="Museo Sans For Dell"/>
              </a:endParaRPr>
            </a:p>
          </p:txBody>
        </p:sp>
        <p:sp>
          <p:nvSpPr>
            <p:cNvPr id="123" name="Rounded Rectangle 122"/>
            <p:cNvSpPr/>
            <p:nvPr/>
          </p:nvSpPr>
          <p:spPr>
            <a:xfrm>
              <a:off x="4424771" y="4776934"/>
              <a:ext cx="76200" cy="45720"/>
            </a:xfrm>
            <a:prstGeom prst="roundRect">
              <a:avLst/>
            </a:prstGeom>
            <a:solidFill>
              <a:srgbClr val="FFFFFF"/>
            </a:solidFill>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sp>
          <p:nvSpPr>
            <p:cNvPr id="124" name="Rectangle 123"/>
            <p:cNvSpPr/>
            <p:nvPr/>
          </p:nvSpPr>
          <p:spPr>
            <a:xfrm>
              <a:off x="4443821" y="4824559"/>
              <a:ext cx="45720" cy="45720"/>
            </a:xfrm>
            <a:prstGeom prst="rect">
              <a:avLst/>
            </a:prstGeom>
            <a:solidFill>
              <a:srgbClr val="FFFFFF"/>
            </a:solidFill>
            <a:effectLst/>
          </p:spPr>
          <p:txBody>
            <a:bodyPr wrap="square" lIns="182880" tIns="137160" rIns="137160" bIns="137160" rtlCol="0" anchor="ctr">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Museo Sans For Dell"/>
              </a:endParaRPr>
            </a:p>
          </p:txBody>
        </p:sp>
      </p:grpSp>
      <p:pic>
        <p:nvPicPr>
          <p:cNvPr id="115" name="Picture 2" descr="C:\Users\lgillespie\Documents\ICONS\PNG_files_072412 (1)\Web.png"/>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116826" y="3166420"/>
            <a:ext cx="891575" cy="941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1592890"/>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Our Challenges</a:t>
            </a:r>
            <a:endParaRPr lang="en-US" dirty="0"/>
          </a:p>
        </p:txBody>
      </p:sp>
    </p:spTree>
    <p:extLst>
      <p:ext uri="{BB962C8B-B14F-4D97-AF65-F5344CB8AC3E}">
        <p14:creationId xmlns:p14="http://schemas.microsoft.com/office/powerpoint/2010/main" val="1184846310"/>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2"/>
          <p:cNvSpPr>
            <a:spLocks noGrp="1"/>
          </p:cNvSpPr>
          <p:nvPr>
            <p:ph type="body" sz="quarter" idx="10"/>
          </p:nvPr>
        </p:nvSpPr>
        <p:spPr>
          <a:xfrm>
            <a:off x="337471" y="1009403"/>
            <a:ext cx="7955280" cy="464275"/>
          </a:xfrm>
        </p:spPr>
        <p:txBody>
          <a:bodyPr>
            <a:normAutofit fontScale="32500" lnSpcReduction="20000"/>
          </a:bodyPr>
          <a:lstStyle/>
          <a:p>
            <a:r>
              <a:rPr lang="en-US" sz="5500" dirty="0" smtClean="0"/>
              <a:t>Confronting today’s security challenges requires extremely </a:t>
            </a:r>
            <a:r>
              <a:rPr lang="en-US" sz="5500" dirty="0"/>
              <a:t>sophisticated and complex </a:t>
            </a:r>
            <a:r>
              <a:rPr lang="en-US" sz="5500" dirty="0" smtClean="0"/>
              <a:t>systems. This complexity presents a unique set of challenges</a:t>
            </a:r>
            <a:endParaRPr lang="en-US" sz="5500" dirty="0"/>
          </a:p>
          <a:p>
            <a:endParaRPr lang="en-US" dirty="0"/>
          </a:p>
        </p:txBody>
      </p:sp>
      <p:sp>
        <p:nvSpPr>
          <p:cNvPr id="2" name="Title 1"/>
          <p:cNvSpPr>
            <a:spLocks noGrp="1"/>
          </p:cNvSpPr>
          <p:nvPr>
            <p:ph type="title"/>
          </p:nvPr>
        </p:nvSpPr>
        <p:spPr>
          <a:xfrm>
            <a:off x="337471" y="362513"/>
            <a:ext cx="7955280" cy="853440"/>
          </a:xfrm>
        </p:spPr>
        <p:txBody>
          <a:bodyPr>
            <a:normAutofit/>
          </a:bodyPr>
          <a:lstStyle/>
          <a:p>
            <a:r>
              <a:rPr lang="en-US" sz="3200" dirty="0" smtClean="0"/>
              <a:t>Technology Challenges</a:t>
            </a:r>
            <a:endParaRPr lang="en-US" sz="3200"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3035834997"/>
              </p:ext>
            </p:extLst>
          </p:nvPr>
        </p:nvGraphicFramePr>
        <p:xfrm>
          <a:off x="365760" y="1709928"/>
          <a:ext cx="7927848" cy="42702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5403654"/>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 Challenges - Continued</a:t>
            </a:r>
            <a:endParaRPr lang="en-US" dirty="0"/>
          </a:p>
        </p:txBody>
      </p:sp>
      <p:graphicFrame>
        <p:nvGraphicFramePr>
          <p:cNvPr id="9" name="Content Placeholder 8"/>
          <p:cNvGraphicFramePr>
            <a:graphicFrameLocks noGrp="1"/>
          </p:cNvGraphicFramePr>
          <p:nvPr>
            <p:ph sz="half" idx="1"/>
            <p:extLst>
              <p:ext uri="{D42A27DB-BD31-4B8C-83A1-F6EECF244321}">
                <p14:modId xmlns:p14="http://schemas.microsoft.com/office/powerpoint/2010/main" val="4288703320"/>
              </p:ext>
            </p:extLst>
          </p:nvPr>
        </p:nvGraphicFramePr>
        <p:xfrm>
          <a:off x="365125" y="1330036"/>
          <a:ext cx="7923213" cy="4643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05179"/>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64631" y="362515"/>
            <a:ext cx="7955280" cy="886396"/>
          </a:xfrm>
        </p:spPr>
        <p:txBody>
          <a:bodyPr>
            <a:normAutofit/>
          </a:bodyPr>
          <a:lstStyle/>
          <a:p>
            <a:r>
              <a:rPr lang="en-US" sz="3200" dirty="0" smtClean="0"/>
              <a:t>Platform System Details</a:t>
            </a:r>
            <a:endParaRPr lang="en-US" sz="3200" dirty="0"/>
          </a:p>
        </p:txBody>
      </p:sp>
      <p:sp>
        <p:nvSpPr>
          <p:cNvPr id="10" name="Content Placeholder 9"/>
          <p:cNvSpPr>
            <a:spLocks noGrp="1"/>
          </p:cNvSpPr>
          <p:nvPr>
            <p:ph type="body" sz="quarter" idx="4294967295"/>
          </p:nvPr>
        </p:nvSpPr>
        <p:spPr>
          <a:xfrm>
            <a:off x="364631" y="827088"/>
            <a:ext cx="8597900" cy="311150"/>
          </a:xfrm>
        </p:spPr>
        <p:txBody>
          <a:bodyPr/>
          <a:lstStyle/>
          <a:p>
            <a:pPr marL="0" indent="0">
              <a:buNone/>
            </a:pPr>
            <a:r>
              <a:rPr lang="en-US" sz="1800" dirty="0">
                <a:solidFill>
                  <a:schemeClr val="bg1"/>
                </a:solidFill>
              </a:rPr>
              <a:t>D</a:t>
            </a:r>
            <a:r>
              <a:rPr lang="en-US" sz="1800" dirty="0" smtClean="0">
                <a:solidFill>
                  <a:schemeClr val="bg1"/>
                </a:solidFill>
              </a:rPr>
              <a:t>eployment done from the bottom up</a:t>
            </a:r>
          </a:p>
          <a:p>
            <a:endParaRPr lang="en-US" dirty="0"/>
          </a:p>
        </p:txBody>
      </p:sp>
      <p:sp>
        <p:nvSpPr>
          <p:cNvPr id="14" name="TextBox 13"/>
          <p:cNvSpPr txBox="1"/>
          <p:nvPr/>
        </p:nvSpPr>
        <p:spPr>
          <a:xfrm>
            <a:off x="282906" y="2880164"/>
            <a:ext cx="1786066" cy="400110"/>
          </a:xfrm>
          <a:prstGeom prst="rect">
            <a:avLst/>
          </a:prstGeom>
          <a:noFill/>
        </p:spPr>
        <p:txBody>
          <a:bodyPr wrap="none" rtlCol="0">
            <a:spAutoFit/>
          </a:bodyPr>
          <a:lstStyle/>
          <a:p>
            <a:pPr defTabSz="457200"/>
            <a:r>
              <a:rPr lang="en-US" sz="2000" dirty="0" smtClean="0">
                <a:solidFill>
                  <a:srgbClr val="404040"/>
                </a:solidFill>
                <a:latin typeface="+mn-lt"/>
                <a:cs typeface="Arial" pitchFamily="34" charset="0"/>
              </a:rPr>
              <a:t>Bastion Hosts</a:t>
            </a:r>
            <a:endParaRPr lang="en-US" sz="2000" dirty="0">
              <a:solidFill>
                <a:srgbClr val="404040"/>
              </a:solidFill>
              <a:latin typeface="+mn-lt"/>
              <a:cs typeface="Arial" pitchFamily="34" charset="0"/>
            </a:endParaRPr>
          </a:p>
        </p:txBody>
      </p:sp>
      <p:sp>
        <p:nvSpPr>
          <p:cNvPr id="24" name="TextBox 23"/>
          <p:cNvSpPr txBox="1"/>
          <p:nvPr/>
        </p:nvSpPr>
        <p:spPr>
          <a:xfrm>
            <a:off x="282906" y="3684209"/>
            <a:ext cx="1568891" cy="400110"/>
          </a:xfrm>
          <a:prstGeom prst="rect">
            <a:avLst/>
          </a:prstGeom>
          <a:noFill/>
        </p:spPr>
        <p:txBody>
          <a:bodyPr wrap="none" rtlCol="0">
            <a:spAutoFit/>
          </a:bodyPr>
          <a:lstStyle/>
          <a:p>
            <a:pPr defTabSz="457200"/>
            <a:r>
              <a:rPr lang="en-US" sz="2000" dirty="0" smtClean="0">
                <a:solidFill>
                  <a:srgbClr val="404040"/>
                </a:solidFill>
                <a:latin typeface="+mn-lt"/>
                <a:cs typeface="Arial" pitchFamily="34" charset="0"/>
              </a:rPr>
              <a:t>Java Servlet</a:t>
            </a:r>
            <a:endParaRPr lang="en-US" sz="2000" dirty="0">
              <a:solidFill>
                <a:srgbClr val="404040"/>
              </a:solidFill>
              <a:latin typeface="+mn-lt"/>
              <a:cs typeface="Arial" pitchFamily="34" charset="0"/>
            </a:endParaRPr>
          </a:p>
        </p:txBody>
      </p:sp>
      <p:sp>
        <p:nvSpPr>
          <p:cNvPr id="31" name="TextBox 30"/>
          <p:cNvSpPr txBox="1"/>
          <p:nvPr/>
        </p:nvSpPr>
        <p:spPr>
          <a:xfrm>
            <a:off x="282906" y="4306225"/>
            <a:ext cx="1848583" cy="400110"/>
          </a:xfrm>
          <a:prstGeom prst="rect">
            <a:avLst/>
          </a:prstGeom>
          <a:noFill/>
        </p:spPr>
        <p:txBody>
          <a:bodyPr wrap="none" rtlCol="0">
            <a:spAutoFit/>
          </a:bodyPr>
          <a:lstStyle/>
          <a:p>
            <a:pPr defTabSz="457200"/>
            <a:r>
              <a:rPr lang="en-US" sz="2000" dirty="0" smtClean="0">
                <a:solidFill>
                  <a:srgbClr val="404040"/>
                </a:solidFill>
                <a:latin typeface="+mn-lt"/>
                <a:cs typeface="Arial" pitchFamily="34" charset="0"/>
              </a:rPr>
              <a:t>Load Balancer</a:t>
            </a:r>
            <a:endParaRPr lang="en-US" sz="2000" dirty="0">
              <a:solidFill>
                <a:srgbClr val="404040"/>
              </a:solidFill>
              <a:latin typeface="+mn-lt"/>
              <a:cs typeface="Arial" pitchFamily="34" charset="0"/>
            </a:endParaRPr>
          </a:p>
        </p:txBody>
      </p:sp>
      <p:sp>
        <p:nvSpPr>
          <p:cNvPr id="34" name="TextBox 33"/>
          <p:cNvSpPr txBox="1"/>
          <p:nvPr/>
        </p:nvSpPr>
        <p:spPr>
          <a:xfrm>
            <a:off x="282906" y="4975882"/>
            <a:ext cx="1786195" cy="400110"/>
          </a:xfrm>
          <a:prstGeom prst="rect">
            <a:avLst/>
          </a:prstGeom>
          <a:noFill/>
        </p:spPr>
        <p:txBody>
          <a:bodyPr wrap="none" rtlCol="0">
            <a:spAutoFit/>
          </a:bodyPr>
          <a:lstStyle/>
          <a:p>
            <a:pPr defTabSz="457200"/>
            <a:r>
              <a:rPr lang="en-US" sz="2000" dirty="0" smtClean="0">
                <a:solidFill>
                  <a:srgbClr val="404040"/>
                </a:solidFill>
                <a:latin typeface="+mn-lt"/>
                <a:cs typeface="Arial" pitchFamily="34" charset="0"/>
              </a:rPr>
              <a:t>Core Services</a:t>
            </a:r>
            <a:endParaRPr lang="en-US" sz="2000" dirty="0">
              <a:solidFill>
                <a:srgbClr val="404040"/>
              </a:solidFill>
              <a:latin typeface="+mn-lt"/>
              <a:cs typeface="Arial" pitchFamily="34" charset="0"/>
            </a:endParaRPr>
          </a:p>
        </p:txBody>
      </p:sp>
      <p:sp>
        <p:nvSpPr>
          <p:cNvPr id="74" name="TextBox 73"/>
          <p:cNvSpPr txBox="1"/>
          <p:nvPr/>
        </p:nvSpPr>
        <p:spPr>
          <a:xfrm>
            <a:off x="6652041" y="4975882"/>
            <a:ext cx="1738874" cy="400110"/>
          </a:xfrm>
          <a:prstGeom prst="rect">
            <a:avLst/>
          </a:prstGeom>
          <a:noFill/>
        </p:spPr>
        <p:txBody>
          <a:bodyPr wrap="none" rtlCol="0">
            <a:spAutoFit/>
          </a:bodyPr>
          <a:lstStyle/>
          <a:p>
            <a:pPr algn="r" defTabSz="457200"/>
            <a:r>
              <a:rPr lang="en-US" sz="2000" dirty="0">
                <a:solidFill>
                  <a:srgbClr val="404040"/>
                </a:solidFill>
                <a:latin typeface="+mn-lt"/>
                <a:cs typeface="Arial" pitchFamily="34" charset="0"/>
              </a:rPr>
              <a:t>Active-Active</a:t>
            </a:r>
          </a:p>
        </p:txBody>
      </p:sp>
      <p:sp>
        <p:nvSpPr>
          <p:cNvPr id="85" name="TextBox 84"/>
          <p:cNvSpPr txBox="1"/>
          <p:nvPr/>
        </p:nvSpPr>
        <p:spPr>
          <a:xfrm>
            <a:off x="282906" y="5742634"/>
            <a:ext cx="1379737" cy="400110"/>
          </a:xfrm>
          <a:prstGeom prst="rect">
            <a:avLst/>
          </a:prstGeom>
          <a:noFill/>
        </p:spPr>
        <p:txBody>
          <a:bodyPr wrap="none" rtlCol="0">
            <a:spAutoFit/>
          </a:bodyPr>
          <a:lstStyle/>
          <a:p>
            <a:pPr defTabSz="457200"/>
            <a:r>
              <a:rPr lang="en-US" sz="2000" dirty="0" smtClean="0">
                <a:solidFill>
                  <a:srgbClr val="404040"/>
                </a:solidFill>
                <a:latin typeface="+mn-lt"/>
                <a:cs typeface="Arial" pitchFamily="34" charset="0"/>
              </a:rPr>
              <a:t>Databases</a:t>
            </a:r>
            <a:endParaRPr lang="en-US" sz="2000" dirty="0">
              <a:solidFill>
                <a:srgbClr val="404040"/>
              </a:solidFill>
              <a:latin typeface="+mn-lt"/>
              <a:cs typeface="Arial" pitchFamily="34" charset="0"/>
            </a:endParaRPr>
          </a:p>
        </p:txBody>
      </p:sp>
      <p:sp>
        <p:nvSpPr>
          <p:cNvPr id="162" name="TextBox 161"/>
          <p:cNvSpPr txBox="1"/>
          <p:nvPr/>
        </p:nvSpPr>
        <p:spPr>
          <a:xfrm>
            <a:off x="7855191" y="4318171"/>
            <a:ext cx="535724" cy="400110"/>
          </a:xfrm>
          <a:prstGeom prst="rect">
            <a:avLst/>
          </a:prstGeom>
          <a:noFill/>
        </p:spPr>
        <p:txBody>
          <a:bodyPr wrap="none" rtlCol="0">
            <a:spAutoFit/>
          </a:bodyPr>
          <a:lstStyle/>
          <a:p>
            <a:pPr algn="r" defTabSz="457200"/>
            <a:r>
              <a:rPr lang="en-US" sz="2000" dirty="0" smtClean="0">
                <a:solidFill>
                  <a:srgbClr val="404040"/>
                </a:solidFill>
                <a:latin typeface="+mn-lt"/>
                <a:cs typeface="Arial" pitchFamily="34" charset="0"/>
              </a:rPr>
              <a:t>HA</a:t>
            </a:r>
            <a:endParaRPr lang="en-US" sz="2000" dirty="0">
              <a:solidFill>
                <a:srgbClr val="404040"/>
              </a:solidFill>
              <a:latin typeface="+mn-lt"/>
              <a:cs typeface="Arial" pitchFamily="34" charset="0"/>
            </a:endParaRPr>
          </a:p>
        </p:txBody>
      </p:sp>
      <p:sp>
        <p:nvSpPr>
          <p:cNvPr id="163" name="TextBox 162"/>
          <p:cNvSpPr txBox="1"/>
          <p:nvPr/>
        </p:nvSpPr>
        <p:spPr>
          <a:xfrm>
            <a:off x="6534086" y="1982780"/>
            <a:ext cx="1860830" cy="400110"/>
          </a:xfrm>
          <a:prstGeom prst="rect">
            <a:avLst/>
          </a:prstGeom>
          <a:noFill/>
        </p:spPr>
        <p:txBody>
          <a:bodyPr wrap="none" rtlCol="0">
            <a:spAutoFit/>
          </a:bodyPr>
          <a:lstStyle/>
          <a:p>
            <a:pPr algn="r" defTabSz="457200"/>
            <a:r>
              <a:rPr lang="en-US" sz="2000" dirty="0" smtClean="0">
                <a:solidFill>
                  <a:srgbClr val="404040"/>
                </a:solidFill>
                <a:latin typeface="+mn-lt"/>
                <a:cs typeface="Arial" pitchFamily="34" charset="0"/>
              </a:rPr>
              <a:t>Active-Passive</a:t>
            </a:r>
            <a:endParaRPr lang="en-US" sz="2000" dirty="0">
              <a:solidFill>
                <a:srgbClr val="404040"/>
              </a:solidFill>
              <a:latin typeface="+mn-lt"/>
              <a:cs typeface="Arial" pitchFamily="34" charset="0"/>
            </a:endParaRPr>
          </a:p>
        </p:txBody>
      </p:sp>
      <p:sp>
        <p:nvSpPr>
          <p:cNvPr id="164" name="TextBox 163"/>
          <p:cNvSpPr txBox="1"/>
          <p:nvPr/>
        </p:nvSpPr>
        <p:spPr>
          <a:xfrm>
            <a:off x="5431806" y="3706895"/>
            <a:ext cx="3753133" cy="400110"/>
          </a:xfrm>
          <a:prstGeom prst="rect">
            <a:avLst/>
          </a:prstGeom>
          <a:noFill/>
        </p:spPr>
        <p:txBody>
          <a:bodyPr wrap="square" rtlCol="0">
            <a:spAutoFit/>
          </a:bodyPr>
          <a:lstStyle/>
          <a:p>
            <a:pPr algn="r" defTabSz="457200"/>
            <a:r>
              <a:rPr lang="en-US" sz="2000" dirty="0" smtClean="0">
                <a:solidFill>
                  <a:srgbClr val="404040"/>
                </a:solidFill>
                <a:latin typeface="+mn-lt"/>
                <a:cs typeface="Arial" pitchFamily="34" charset="0"/>
              </a:rPr>
              <a:t>Non-standard containers</a:t>
            </a:r>
            <a:endParaRPr lang="en-US" sz="2000" dirty="0">
              <a:solidFill>
                <a:srgbClr val="404040"/>
              </a:solidFill>
              <a:latin typeface="+mn-lt"/>
              <a:cs typeface="Arial" pitchFamily="34" charset="0"/>
            </a:endParaRPr>
          </a:p>
        </p:txBody>
      </p:sp>
      <p:sp>
        <p:nvSpPr>
          <p:cNvPr id="166" name="TextBox 165"/>
          <p:cNvSpPr txBox="1"/>
          <p:nvPr/>
        </p:nvSpPr>
        <p:spPr>
          <a:xfrm>
            <a:off x="6280235" y="5785797"/>
            <a:ext cx="2114681" cy="400110"/>
          </a:xfrm>
          <a:prstGeom prst="rect">
            <a:avLst/>
          </a:prstGeom>
          <a:noFill/>
        </p:spPr>
        <p:txBody>
          <a:bodyPr wrap="none" rtlCol="0">
            <a:spAutoFit/>
          </a:bodyPr>
          <a:lstStyle/>
          <a:p>
            <a:pPr algn="r" defTabSz="457200"/>
            <a:r>
              <a:rPr lang="en-US" sz="2000" dirty="0" smtClean="0">
                <a:solidFill>
                  <a:srgbClr val="404040"/>
                </a:solidFill>
                <a:latin typeface="+mn-lt"/>
                <a:cs typeface="Arial" pitchFamily="34" charset="0"/>
              </a:rPr>
              <a:t>Oracle &amp; </a:t>
            </a:r>
            <a:r>
              <a:rPr lang="en-US" sz="2000" dirty="0" err="1" smtClean="0">
                <a:solidFill>
                  <a:srgbClr val="404040"/>
                </a:solidFill>
                <a:latin typeface="+mn-lt"/>
                <a:cs typeface="Arial" pitchFamily="34" charset="0"/>
              </a:rPr>
              <a:t>MySQL</a:t>
            </a:r>
            <a:endParaRPr lang="en-US" sz="2000" dirty="0">
              <a:solidFill>
                <a:srgbClr val="404040"/>
              </a:solidFill>
              <a:latin typeface="+mn-lt"/>
              <a:cs typeface="Arial" pitchFamily="34" charset="0"/>
            </a:endParaRPr>
          </a:p>
        </p:txBody>
      </p:sp>
      <p:pic>
        <p:nvPicPr>
          <p:cNvPr id="2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8276" y="1155701"/>
            <a:ext cx="3570017" cy="521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8253344"/>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Our Approach</a:t>
            </a:r>
            <a:endParaRPr lang="en-US" dirty="0"/>
          </a:p>
        </p:txBody>
      </p:sp>
    </p:spTree>
    <p:extLst>
      <p:ext uri="{BB962C8B-B14F-4D97-AF65-F5344CB8AC3E}">
        <p14:creationId xmlns:p14="http://schemas.microsoft.com/office/powerpoint/2010/main" val="3910523209"/>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ELZT.yhwUugVc6plPeJhw"/>
</p:tagLst>
</file>

<file path=ppt/theme/theme1.xml><?xml version="1.0" encoding="utf-8"?>
<a:theme xmlns:a="http://schemas.openxmlformats.org/drawingml/2006/main" name="4x3 May2014">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with Dell Berry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Content Slide">
  <a:themeElements>
    <a:clrScheme name="Electric Cloud">
      <a:dk1>
        <a:srgbClr val="404040"/>
      </a:dk1>
      <a:lt1>
        <a:sysClr val="window" lastClr="FFFFFF"/>
      </a:lt1>
      <a:dk2>
        <a:srgbClr val="023B64"/>
      </a:dk2>
      <a:lt2>
        <a:srgbClr val="66A1C7"/>
      </a:lt2>
      <a:accent1>
        <a:srgbClr val="CDDDEA"/>
      </a:accent1>
      <a:accent2>
        <a:srgbClr val="C1281A"/>
      </a:accent2>
      <a:accent3>
        <a:srgbClr val="515252"/>
      </a:accent3>
      <a:accent4>
        <a:srgbClr val="949594"/>
      </a:accent4>
      <a:accent5>
        <a:srgbClr val="7CC04B"/>
      </a:accent5>
      <a:accent6>
        <a:srgbClr val="E68F1A"/>
      </a:accent6>
      <a:hlink>
        <a:srgbClr val="E68F1A"/>
      </a:hlink>
      <a:folHlink>
        <a:srgbClr val="7CC04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Content Slide">
  <a:themeElements>
    <a:clrScheme name="Electric Cloud">
      <a:dk1>
        <a:srgbClr val="404040"/>
      </a:dk1>
      <a:lt1>
        <a:sysClr val="window" lastClr="FFFFFF"/>
      </a:lt1>
      <a:dk2>
        <a:srgbClr val="023B64"/>
      </a:dk2>
      <a:lt2>
        <a:srgbClr val="66A1C7"/>
      </a:lt2>
      <a:accent1>
        <a:srgbClr val="CDDDEA"/>
      </a:accent1>
      <a:accent2>
        <a:srgbClr val="C1281A"/>
      </a:accent2>
      <a:accent3>
        <a:srgbClr val="515252"/>
      </a:accent3>
      <a:accent4>
        <a:srgbClr val="949594"/>
      </a:accent4>
      <a:accent5>
        <a:srgbClr val="7CC04B"/>
      </a:accent5>
      <a:accent6>
        <a:srgbClr val="E68F1A"/>
      </a:accent6>
      <a:hlink>
        <a:srgbClr val="E68F1A"/>
      </a:hlink>
      <a:folHlink>
        <a:srgbClr val="7CC04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3_DELL SECUREWORKS OLP">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3_3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4_DELL SECUREWORKS OLP">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Dell SWRX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Electric Cloud - Master Template">
  <a:themeElements>
    <a:clrScheme name="Electric Cloud">
      <a:dk1>
        <a:srgbClr val="111111"/>
      </a:dk1>
      <a:lt1>
        <a:srgbClr val="FFFFFF"/>
      </a:lt1>
      <a:dk2>
        <a:srgbClr val="A0A0A0"/>
      </a:dk2>
      <a:lt2>
        <a:srgbClr val="505050"/>
      </a:lt2>
      <a:accent1>
        <a:srgbClr val="01A1E7"/>
      </a:accent1>
      <a:accent2>
        <a:srgbClr val="FE9901"/>
      </a:accent2>
      <a:accent3>
        <a:srgbClr val="00A99D"/>
      </a:accent3>
      <a:accent4>
        <a:srgbClr val="FF490B"/>
      </a:accent4>
      <a:accent5>
        <a:srgbClr val="05C8CD"/>
      </a:accent5>
      <a:accent6>
        <a:srgbClr val="5ECCFE"/>
      </a:accent6>
      <a:hlink>
        <a:srgbClr val="00A1E7"/>
      </a:hlink>
      <a:folHlink>
        <a:srgbClr val="FE9901"/>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lIns="72000" tIns="72000" rIns="72000" bIns="72000" rtlCol="0" anchor="ctr"/>
      <a:lstStyle>
        <a:defPPr algn="ctr">
          <a:spcBef>
            <a:spcPts val="300"/>
          </a:spcBef>
          <a:spcAft>
            <a:spcPts val="300"/>
          </a:spcAft>
          <a:defRPr b="1"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975" indent="-180975">
          <a:spcBef>
            <a:spcPts val="200"/>
          </a:spcBef>
          <a:spcAft>
            <a:spcPts val="200"/>
          </a:spcAft>
          <a:buClr>
            <a:schemeClr val="accent1"/>
          </a:buClr>
          <a:buSzPct val="70000"/>
          <a:buFont typeface="Wingdings" pitchFamily="2" charset="2"/>
          <a:buChar char="n"/>
          <a:defRPr sz="1600" dirty="0" err="1" smtClean="0"/>
        </a:defPPr>
      </a:lstStyle>
    </a:txDef>
  </a:objectDefaults>
  <a:extraClrSchemeLst/>
  <a:extLst>
    <a:ext uri="{05A4C25C-085E-4340-85A3-A5531E510DB2}">
      <thm15:themeFamily xmlns="" xmlns:thm15="http://schemas.microsoft.com/office/thememl/2012/main" name="Presentationtitle2.pptx" id="{453840BD-3BFB-4F5A-9E53-A92418177D62}" vid="{CC85FA32-56F0-444A-93DB-CDABF849B46F}"/>
    </a:ext>
  </a:ext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Dell Blue background ">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TTF">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ct val="90000"/>
          </a:lnSpc>
          <a:spcBef>
            <a:spcPts val="100"/>
          </a:spcBef>
          <a:spcAft>
            <a:spcPts val="100"/>
          </a:spcAft>
          <a:defRPr sz="2000" dirty="0" err="1" smtClean="0">
            <a:solidFill>
              <a:schemeClr val="tx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ontent with Dell Blue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ontent with Dell Gray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ontent with Dell Dark Blue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Content with Dell Teal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Content with Dell Green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Content with Dell Yellow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ontent with Dell Dark Red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0873BDD3-AA35-4F19-A12A-C6462BECFBD1}">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3.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4x3 May2014</Template>
  <TotalTime>15734</TotalTime>
  <Words>4355</Words>
  <Application>Microsoft Office PowerPoint</Application>
  <PresentationFormat>On-screen Show (4:3)</PresentationFormat>
  <Paragraphs>278</Paragraphs>
  <Slides>27</Slides>
  <Notes>21</Notes>
  <HiddenSlides>0</HiddenSlides>
  <MMClips>0</MMClips>
  <ScaleCrop>false</ScaleCrop>
  <HeadingPairs>
    <vt:vector size="6" baseType="variant">
      <vt:variant>
        <vt:lpstr>Fonts Used</vt:lpstr>
      </vt:variant>
      <vt:variant>
        <vt:i4>14</vt:i4>
      </vt:variant>
      <vt:variant>
        <vt:lpstr>Theme</vt:lpstr>
      </vt:variant>
      <vt:variant>
        <vt:i4>17</vt:i4>
      </vt:variant>
      <vt:variant>
        <vt:lpstr>Slide Titles</vt:lpstr>
      </vt:variant>
      <vt:variant>
        <vt:i4>27</vt:i4>
      </vt:variant>
    </vt:vector>
  </HeadingPairs>
  <TitlesOfParts>
    <vt:vector size="58" baseType="lpstr">
      <vt:lpstr>Arial</vt:lpstr>
      <vt:lpstr>Verdana</vt:lpstr>
      <vt:lpstr>Times</vt:lpstr>
      <vt:lpstr>Calibri</vt:lpstr>
      <vt:lpstr>Museo For Dell</vt:lpstr>
      <vt:lpstr>arial unicode ms</vt:lpstr>
      <vt:lpstr>museo sans for dell</vt:lpstr>
      <vt:lpstr>Wingdings</vt:lpstr>
      <vt:lpstr>Arial Black</vt:lpstr>
      <vt:lpstr>Museo For Dell 300</vt:lpstr>
      <vt:lpstr>Rockwell</vt:lpstr>
      <vt:lpstr>Courier New</vt:lpstr>
      <vt:lpstr>Trebuchet MS</vt:lpstr>
      <vt:lpstr>Museo Sans For Dell 700</vt:lpstr>
      <vt:lpstr>4x3 May2014</vt:lpstr>
      <vt:lpstr>Content Dell Blue background </vt:lpstr>
      <vt:lpstr>Content with Dell Blue footer</vt:lpstr>
      <vt:lpstr>Content with Dell Gray footer</vt:lpstr>
      <vt:lpstr>Content with Dell Dark Blue footer</vt:lpstr>
      <vt:lpstr>Content with Dell Teal footer</vt:lpstr>
      <vt:lpstr>Content with Dell Green footer</vt:lpstr>
      <vt:lpstr>Content with Dell Yellow footer</vt:lpstr>
      <vt:lpstr>Content with Dell Dark Red footer</vt:lpstr>
      <vt:lpstr>Content with Dell Berry footer</vt:lpstr>
      <vt:lpstr>Content Slide</vt:lpstr>
      <vt:lpstr>1_Content Slide</vt:lpstr>
      <vt:lpstr>3_DELL SECUREWORKS OLP</vt:lpstr>
      <vt:lpstr>13_3 template</vt:lpstr>
      <vt:lpstr>4_DELL SECUREWORKS OLP</vt:lpstr>
      <vt:lpstr>Dell SWRX Presentation Template</vt:lpstr>
      <vt:lpstr>Electric Cloud - Master Template</vt:lpstr>
      <vt:lpstr>Dell SecureWorks </vt:lpstr>
      <vt:lpstr>Dell SecureWorks at a glance</vt:lpstr>
      <vt:lpstr>Business Objective</vt:lpstr>
      <vt:lpstr>Business Objective</vt:lpstr>
      <vt:lpstr>Our Challenges</vt:lpstr>
      <vt:lpstr>Technology Challenges</vt:lpstr>
      <vt:lpstr>Technology Challenges - Continued</vt:lpstr>
      <vt:lpstr>Platform System Details</vt:lpstr>
      <vt:lpstr>Our Approach</vt:lpstr>
      <vt:lpstr>Layer between development and operations</vt:lpstr>
      <vt:lpstr>Phase 1 - Immediate Relief to Engineering</vt:lpstr>
      <vt:lpstr>Phase 2 - Application Release Automation</vt:lpstr>
      <vt:lpstr>A More In Depth Look</vt:lpstr>
      <vt:lpstr>Unified Deployment and Configuration Model</vt:lpstr>
      <vt:lpstr>Knowledge Transfer Efficiency </vt:lpstr>
      <vt:lpstr>Knowledge Transfer Efficiency – Configuration Changes</vt:lpstr>
      <vt:lpstr>PowerPoint Presentation</vt:lpstr>
      <vt:lpstr>PowerPoint Presentation</vt:lpstr>
      <vt:lpstr>Email Notification– Failed Deployment</vt:lpstr>
      <vt:lpstr>Email Notification– Successful Deployment</vt:lpstr>
      <vt:lpstr>Tips and Suggestions</vt:lpstr>
      <vt:lpstr>PowerPoint Presentation</vt:lpstr>
      <vt:lpstr>Q&amp;A</vt:lpstr>
      <vt:lpstr>PowerPoint Presentation</vt:lpstr>
      <vt:lpstr>PowerPoint Presentation</vt:lpstr>
      <vt:lpstr>PowerPoint Presentation</vt:lpstr>
      <vt:lpstr>PowerPoint Presentation</vt:lpstr>
    </vt:vector>
  </TitlesOfParts>
  <Company>Dell SecureWork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Electric Commander</dc:title>
  <dc:creator>DSWRX User</dc:creator>
  <cp:keywords>Internal Use</cp:keywords>
  <cp:lastModifiedBy>Leandro Bonvehi</cp:lastModifiedBy>
  <cp:revision>1258</cp:revision>
  <cp:lastPrinted>2014-02-14T16:26:12Z</cp:lastPrinted>
  <dcterms:created xsi:type="dcterms:W3CDTF">2014-05-28T14:46:16Z</dcterms:created>
  <dcterms:modified xsi:type="dcterms:W3CDTF">2014-10-22T17:3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a691b269-ee38-419e-84cb-d330531f58cd</vt:lpwstr>
  </property>
  <property fmtid="{D5CDD505-2E9C-101B-9397-08002B2CF9AE}" pid="4" name="DellClassification">
    <vt:lpwstr>Internal Use</vt:lpwstr>
  </property>
  <property fmtid="{D5CDD505-2E9C-101B-9397-08002B2CF9AE}" pid="5" name="DellSubLabels">
    <vt:lpwstr/>
  </property>
  <property fmtid="{D5CDD505-2E9C-101B-9397-08002B2CF9AE}" pid="6" name="DellVisual Markings (PPT)">
    <vt:lpwstr>Classification Footer</vt:lpwstr>
  </property>
  <property fmtid="{D5CDD505-2E9C-101B-9397-08002B2CF9AE}" pid="7" name="titusconfig">
    <vt:lpwstr>1.2AMER</vt:lpwstr>
  </property>
  <property fmtid="{D5CDD505-2E9C-101B-9397-08002B2CF9AE}" pid="8" name="SecureWorksClassification">
    <vt:lpwstr>Confidential - No Document Markings</vt:lpwstr>
  </property>
</Properties>
</file>